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759" r:id="rId5"/>
    <p:sldMasterId id="2147483774" r:id="rId6"/>
  </p:sldMasterIdLst>
  <p:notesMasterIdLst>
    <p:notesMasterId r:id="rId20"/>
  </p:notesMasterIdLst>
  <p:sldIdLst>
    <p:sldId id="285" r:id="rId7"/>
    <p:sldId id="1448942227" r:id="rId8"/>
    <p:sldId id="2147469704" r:id="rId9"/>
    <p:sldId id="2147469706" r:id="rId10"/>
    <p:sldId id="2147469710" r:id="rId11"/>
    <p:sldId id="2147469712" r:id="rId12"/>
    <p:sldId id="2147469713" r:id="rId13"/>
    <p:sldId id="1448942229" r:id="rId14"/>
    <p:sldId id="1448942228" r:id="rId15"/>
    <p:sldId id="296" r:id="rId16"/>
    <p:sldId id="297" r:id="rId17"/>
    <p:sldId id="298" r:id="rId18"/>
    <p:sldId id="279" r:id="rId19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BE10"/>
    <a:srgbClr val="003946"/>
    <a:srgbClr val="4A7283"/>
    <a:srgbClr val="EB892C"/>
    <a:srgbClr val="E1DCD2"/>
    <a:srgbClr val="9E938A"/>
    <a:srgbClr val="00B4BD"/>
    <a:srgbClr val="00A8E5"/>
    <a:srgbClr val="DF7227"/>
    <a:srgbClr val="EAAB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CCC4B9B-E313-44C6-9D9B-9F5C1F08D4BD}" v="51" dt="2023-03-22T07:29:29.068"/>
    <p1510:client id="{F447AACF-AC0E-6A90-16B3-73A937FB2370}" v="9" dt="2023-03-21T14:48:02.69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249" autoAdjust="0"/>
  </p:normalViewPr>
  <p:slideViewPr>
    <p:cSldViewPr snapToGrid="0">
      <p:cViewPr varScale="1">
        <p:scale>
          <a:sx n="95" d="100"/>
          <a:sy n="95" d="100"/>
        </p:scale>
        <p:origin x="66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uchika Datir" userId="S::ruchika.datir@fractal.ai::c549d17e-6dd2-45e1-afe7-4095f5233fc7" providerId="AD" clId="Web-{F447AACF-AC0E-6A90-16B3-73A937FB2370}"/>
    <pc:docChg chg="modSld">
      <pc:chgData name="Ruchika Datir" userId="S::ruchika.datir@fractal.ai::c549d17e-6dd2-45e1-afe7-4095f5233fc7" providerId="AD" clId="Web-{F447AACF-AC0E-6A90-16B3-73A937FB2370}" dt="2023-03-21T14:48:02.696" v="7"/>
      <pc:docMkLst>
        <pc:docMk/>
      </pc:docMkLst>
      <pc:sldChg chg="addSp delSp modSp">
        <pc:chgData name="Ruchika Datir" userId="S::ruchika.datir@fractal.ai::c549d17e-6dd2-45e1-afe7-4095f5233fc7" providerId="AD" clId="Web-{F447AACF-AC0E-6A90-16B3-73A937FB2370}" dt="2023-03-21T14:48:02.696" v="7"/>
        <pc:sldMkLst>
          <pc:docMk/>
          <pc:sldMk cId="599655922" sldId="1448942229"/>
        </pc:sldMkLst>
        <pc:spChg chg="del">
          <ac:chgData name="Ruchika Datir" userId="S::ruchika.datir@fractal.ai::c549d17e-6dd2-45e1-afe7-4095f5233fc7" providerId="AD" clId="Web-{F447AACF-AC0E-6A90-16B3-73A937FB2370}" dt="2023-03-21T14:47:38.633" v="0"/>
          <ac:spMkLst>
            <pc:docMk/>
            <pc:sldMk cId="599655922" sldId="1448942229"/>
            <ac:spMk id="7" creationId="{D4DFFAF1-DD04-B6FA-233B-F084F95E6948}"/>
          </ac:spMkLst>
        </pc:spChg>
        <pc:spChg chg="add mod">
          <ac:chgData name="Ruchika Datir" userId="S::ruchika.datir@fractal.ai::c549d17e-6dd2-45e1-afe7-4095f5233fc7" providerId="AD" clId="Web-{F447AACF-AC0E-6A90-16B3-73A937FB2370}" dt="2023-03-21T14:48:02.696" v="7"/>
          <ac:spMkLst>
            <pc:docMk/>
            <pc:sldMk cId="599655922" sldId="1448942229"/>
            <ac:spMk id="9" creationId="{D4D059B7-7A12-A560-6ADC-EBC96EA198AA}"/>
          </ac:spMkLst>
        </pc:spChg>
        <pc:picChg chg="add del mod ord">
          <ac:chgData name="Ruchika Datir" userId="S::ruchika.datir@fractal.ai::c549d17e-6dd2-45e1-afe7-4095f5233fc7" providerId="AD" clId="Web-{F447AACF-AC0E-6A90-16B3-73A937FB2370}" dt="2023-03-21T14:48:02.696" v="7"/>
          <ac:picMkLst>
            <pc:docMk/>
            <pc:sldMk cId="599655922" sldId="1448942229"/>
            <ac:picMk id="4" creationId="{D8831879-BE6F-6B55-48D0-67CFF07E8655}"/>
          </ac:picMkLst>
        </pc:picChg>
      </pc:sldChg>
    </pc:docChg>
  </pc:docChgLst>
  <pc:docChgLst>
    <pc:chgData name="Anjali Jaisinghani" userId="cad40627-4d93-4324-b144-18a7e046d981" providerId="ADAL" clId="{4CCC4B9B-E313-44C6-9D9B-9F5C1F08D4BD}"/>
    <pc:docChg chg="undo redo custSel delSld modSld">
      <pc:chgData name="Anjali Jaisinghani" userId="cad40627-4d93-4324-b144-18a7e046d981" providerId="ADAL" clId="{4CCC4B9B-E313-44C6-9D9B-9F5C1F08D4BD}" dt="2023-03-22T07:29:43.516" v="1833" actId="1076"/>
      <pc:docMkLst>
        <pc:docMk/>
      </pc:docMkLst>
      <pc:sldChg chg="del">
        <pc:chgData name="Anjali Jaisinghani" userId="cad40627-4d93-4324-b144-18a7e046d981" providerId="ADAL" clId="{4CCC4B9B-E313-44C6-9D9B-9F5C1F08D4BD}" dt="2023-03-21T05:54:17.943" v="3" actId="47"/>
        <pc:sldMkLst>
          <pc:docMk/>
          <pc:sldMk cId="3172846348" sldId="288"/>
        </pc:sldMkLst>
      </pc:sldChg>
      <pc:sldChg chg="del">
        <pc:chgData name="Anjali Jaisinghani" userId="cad40627-4d93-4324-b144-18a7e046d981" providerId="ADAL" clId="{4CCC4B9B-E313-44C6-9D9B-9F5C1F08D4BD}" dt="2023-03-21T05:54:19.681" v="5" actId="47"/>
        <pc:sldMkLst>
          <pc:docMk/>
          <pc:sldMk cId="3232454339" sldId="289"/>
        </pc:sldMkLst>
      </pc:sldChg>
      <pc:sldChg chg="del">
        <pc:chgData name="Anjali Jaisinghani" userId="cad40627-4d93-4324-b144-18a7e046d981" providerId="ADAL" clId="{4CCC4B9B-E313-44C6-9D9B-9F5C1F08D4BD}" dt="2023-03-21T05:54:14.566" v="0" actId="47"/>
        <pc:sldMkLst>
          <pc:docMk/>
          <pc:sldMk cId="2915731044" sldId="290"/>
        </pc:sldMkLst>
      </pc:sldChg>
      <pc:sldChg chg="del">
        <pc:chgData name="Anjali Jaisinghani" userId="cad40627-4d93-4324-b144-18a7e046d981" providerId="ADAL" clId="{4CCC4B9B-E313-44C6-9D9B-9F5C1F08D4BD}" dt="2023-03-21T05:54:21.909" v="8" actId="47"/>
        <pc:sldMkLst>
          <pc:docMk/>
          <pc:sldMk cId="237059039" sldId="292"/>
        </pc:sldMkLst>
      </pc:sldChg>
      <pc:sldChg chg="modSp mod">
        <pc:chgData name="Anjali Jaisinghani" userId="cad40627-4d93-4324-b144-18a7e046d981" providerId="ADAL" clId="{4CCC4B9B-E313-44C6-9D9B-9F5C1F08D4BD}" dt="2023-03-21T05:55:05.428" v="20" actId="114"/>
        <pc:sldMkLst>
          <pc:docMk/>
          <pc:sldMk cId="644191892" sldId="1448942227"/>
        </pc:sldMkLst>
        <pc:graphicFrameChg chg="modGraphic">
          <ac:chgData name="Anjali Jaisinghani" userId="cad40627-4d93-4324-b144-18a7e046d981" providerId="ADAL" clId="{4CCC4B9B-E313-44C6-9D9B-9F5C1F08D4BD}" dt="2023-03-21T05:55:05.428" v="20" actId="114"/>
          <ac:graphicFrameMkLst>
            <pc:docMk/>
            <pc:sldMk cId="644191892" sldId="1448942227"/>
            <ac:graphicFrameMk id="19" creationId="{4E999FE9-BDAD-5E44-AF03-3B09A5C793AC}"/>
          </ac:graphicFrameMkLst>
        </pc:graphicFrameChg>
      </pc:sldChg>
      <pc:sldChg chg="addSp delSp modSp mod">
        <pc:chgData name="Anjali Jaisinghani" userId="cad40627-4d93-4324-b144-18a7e046d981" providerId="ADAL" clId="{4CCC4B9B-E313-44C6-9D9B-9F5C1F08D4BD}" dt="2023-03-22T07:29:43.516" v="1833" actId="1076"/>
        <pc:sldMkLst>
          <pc:docMk/>
          <pc:sldMk cId="599655922" sldId="1448942229"/>
        </pc:sldMkLst>
        <pc:spChg chg="add mod">
          <ac:chgData name="Anjali Jaisinghani" userId="cad40627-4d93-4324-b144-18a7e046d981" providerId="ADAL" clId="{4CCC4B9B-E313-44C6-9D9B-9F5C1F08D4BD}" dt="2023-03-21T05:54:28.820" v="9" actId="478"/>
          <ac:spMkLst>
            <pc:docMk/>
            <pc:sldMk cId="599655922" sldId="1448942229"/>
            <ac:spMk id="7" creationId="{D4DFFAF1-DD04-B6FA-233B-F084F95E6948}"/>
          </ac:spMkLst>
        </pc:spChg>
        <pc:spChg chg="del">
          <ac:chgData name="Anjali Jaisinghani" userId="cad40627-4d93-4324-b144-18a7e046d981" providerId="ADAL" clId="{4CCC4B9B-E313-44C6-9D9B-9F5C1F08D4BD}" dt="2023-03-22T07:29:29.067" v="1828" actId="931"/>
          <ac:spMkLst>
            <pc:docMk/>
            <pc:sldMk cId="599655922" sldId="1448942229"/>
            <ac:spMk id="9" creationId="{D4D059B7-7A12-A560-6ADC-EBC96EA198AA}"/>
          </ac:spMkLst>
        </pc:spChg>
        <pc:picChg chg="add mod">
          <ac:chgData name="Anjali Jaisinghani" userId="cad40627-4d93-4324-b144-18a7e046d981" providerId="ADAL" clId="{4CCC4B9B-E313-44C6-9D9B-9F5C1F08D4BD}" dt="2023-03-22T07:29:43.516" v="1833" actId="1076"/>
          <ac:picMkLst>
            <pc:docMk/>
            <pc:sldMk cId="599655922" sldId="1448942229"/>
            <ac:picMk id="7" creationId="{0D105619-FA33-6BB7-5B45-176651E77BFE}"/>
          </ac:picMkLst>
        </pc:picChg>
        <pc:picChg chg="del">
          <ac:chgData name="Anjali Jaisinghani" userId="cad40627-4d93-4324-b144-18a7e046d981" providerId="ADAL" clId="{4CCC4B9B-E313-44C6-9D9B-9F5C1F08D4BD}" dt="2023-03-21T05:54:28.820" v="9" actId="478"/>
          <ac:picMkLst>
            <pc:docMk/>
            <pc:sldMk cId="599655922" sldId="1448942229"/>
            <ac:picMk id="8" creationId="{067DAE8D-6210-7EFA-4794-D77406A3F858}"/>
          </ac:picMkLst>
        </pc:picChg>
      </pc:sldChg>
      <pc:sldChg chg="del">
        <pc:chgData name="Anjali Jaisinghani" userId="cad40627-4d93-4324-b144-18a7e046d981" providerId="ADAL" clId="{4CCC4B9B-E313-44C6-9D9B-9F5C1F08D4BD}" dt="2023-03-21T05:54:15.767" v="2" actId="47"/>
        <pc:sldMkLst>
          <pc:docMk/>
          <pc:sldMk cId="3838955510" sldId="1448942230"/>
        </pc:sldMkLst>
      </pc:sldChg>
      <pc:sldChg chg="del">
        <pc:chgData name="Anjali Jaisinghani" userId="cad40627-4d93-4324-b144-18a7e046d981" providerId="ADAL" clId="{4CCC4B9B-E313-44C6-9D9B-9F5C1F08D4BD}" dt="2023-03-21T05:54:15.181" v="1" actId="47"/>
        <pc:sldMkLst>
          <pc:docMk/>
          <pc:sldMk cId="612250815" sldId="1448942231"/>
        </pc:sldMkLst>
      </pc:sldChg>
      <pc:sldChg chg="addSp delSp modSp mod modNotesTx">
        <pc:chgData name="Anjali Jaisinghani" userId="cad40627-4d93-4324-b144-18a7e046d981" providerId="ADAL" clId="{4CCC4B9B-E313-44C6-9D9B-9F5C1F08D4BD}" dt="2023-03-22T06:18:39.438" v="1827" actId="20577"/>
        <pc:sldMkLst>
          <pc:docMk/>
          <pc:sldMk cId="2294442288" sldId="2147469704"/>
        </pc:sldMkLst>
        <pc:spChg chg="add mod">
          <ac:chgData name="Anjali Jaisinghani" userId="cad40627-4d93-4324-b144-18a7e046d981" providerId="ADAL" clId="{4CCC4B9B-E313-44C6-9D9B-9F5C1F08D4BD}" dt="2023-03-22T04:47:22.528" v="1728" actId="14100"/>
          <ac:spMkLst>
            <pc:docMk/>
            <pc:sldMk cId="2294442288" sldId="2147469704"/>
            <ac:spMk id="5" creationId="{180ECAF5-9A0C-C94A-CC83-7F03AB10A280}"/>
          </ac:spMkLst>
        </pc:spChg>
        <pc:spChg chg="mod">
          <ac:chgData name="Anjali Jaisinghani" userId="cad40627-4d93-4324-b144-18a7e046d981" providerId="ADAL" clId="{4CCC4B9B-E313-44C6-9D9B-9F5C1F08D4BD}" dt="2023-03-21T08:27:43.447" v="1394" actId="14100"/>
          <ac:spMkLst>
            <pc:docMk/>
            <pc:sldMk cId="2294442288" sldId="2147469704"/>
            <ac:spMk id="17" creationId="{227124D9-6EAC-8534-D725-E0E26C894AB2}"/>
          </ac:spMkLst>
        </pc:spChg>
        <pc:spChg chg="mod">
          <ac:chgData name="Anjali Jaisinghani" userId="cad40627-4d93-4324-b144-18a7e046d981" providerId="ADAL" clId="{4CCC4B9B-E313-44C6-9D9B-9F5C1F08D4BD}" dt="2023-03-21T11:09:47.933" v="1535" actId="6549"/>
          <ac:spMkLst>
            <pc:docMk/>
            <pc:sldMk cId="2294442288" sldId="2147469704"/>
            <ac:spMk id="54" creationId="{AA83CC61-F3EC-AF33-D1DD-7C5C24D64C06}"/>
          </ac:spMkLst>
        </pc:spChg>
        <pc:spChg chg="mod">
          <ac:chgData name="Anjali Jaisinghani" userId="cad40627-4d93-4324-b144-18a7e046d981" providerId="ADAL" clId="{4CCC4B9B-E313-44C6-9D9B-9F5C1F08D4BD}" dt="2023-03-22T04:43:08.816" v="1683" actId="14100"/>
          <ac:spMkLst>
            <pc:docMk/>
            <pc:sldMk cId="2294442288" sldId="2147469704"/>
            <ac:spMk id="79" creationId="{234E6D4B-907C-53CD-5F2E-657B34FA1311}"/>
          </ac:spMkLst>
        </pc:spChg>
        <pc:spChg chg="mod">
          <ac:chgData name="Anjali Jaisinghani" userId="cad40627-4d93-4324-b144-18a7e046d981" providerId="ADAL" clId="{4CCC4B9B-E313-44C6-9D9B-9F5C1F08D4BD}" dt="2023-03-22T04:48:11.596" v="1735" actId="14100"/>
          <ac:spMkLst>
            <pc:docMk/>
            <pc:sldMk cId="2294442288" sldId="2147469704"/>
            <ac:spMk id="81" creationId="{59592E65-2B75-16DA-9CEB-FCB9E5E751DC}"/>
          </ac:spMkLst>
        </pc:spChg>
        <pc:spChg chg="del mod topLvl">
          <ac:chgData name="Anjali Jaisinghani" userId="cad40627-4d93-4324-b144-18a7e046d981" providerId="ADAL" clId="{4CCC4B9B-E313-44C6-9D9B-9F5C1F08D4BD}" dt="2023-03-22T04:53:30.010" v="1774" actId="478"/>
          <ac:spMkLst>
            <pc:docMk/>
            <pc:sldMk cId="2294442288" sldId="2147469704"/>
            <ac:spMk id="105" creationId="{66AA3E74-8569-91BC-5177-4427B0926244}"/>
          </ac:spMkLst>
        </pc:spChg>
        <pc:spChg chg="mod topLvl">
          <ac:chgData name="Anjali Jaisinghani" userId="cad40627-4d93-4324-b144-18a7e046d981" providerId="ADAL" clId="{4CCC4B9B-E313-44C6-9D9B-9F5C1F08D4BD}" dt="2023-03-22T05:33:09.312" v="1821" actId="1076"/>
          <ac:spMkLst>
            <pc:docMk/>
            <pc:sldMk cId="2294442288" sldId="2147469704"/>
            <ac:spMk id="107" creationId="{0FEA2C64-4039-37FD-1BFF-29273B96A8E9}"/>
          </ac:spMkLst>
        </pc:spChg>
        <pc:spChg chg="mod">
          <ac:chgData name="Anjali Jaisinghani" userId="cad40627-4d93-4324-b144-18a7e046d981" providerId="ADAL" clId="{4CCC4B9B-E313-44C6-9D9B-9F5C1F08D4BD}" dt="2023-03-22T04:43:26.494" v="1686" actId="14100"/>
          <ac:spMkLst>
            <pc:docMk/>
            <pc:sldMk cId="2294442288" sldId="2147469704"/>
            <ac:spMk id="121" creationId="{59E94B81-5CAB-4C57-8647-2494EA1CBC01}"/>
          </ac:spMkLst>
        </pc:spChg>
        <pc:spChg chg="mod">
          <ac:chgData name="Anjali Jaisinghani" userId="cad40627-4d93-4324-b144-18a7e046d981" providerId="ADAL" clId="{4CCC4B9B-E313-44C6-9D9B-9F5C1F08D4BD}" dt="2023-03-22T04:43:49.831" v="1688" actId="1076"/>
          <ac:spMkLst>
            <pc:docMk/>
            <pc:sldMk cId="2294442288" sldId="2147469704"/>
            <ac:spMk id="132" creationId="{35479CFC-4682-1187-8B2A-DE73FD02C1EB}"/>
          </ac:spMkLst>
        </pc:spChg>
        <pc:spChg chg="mod">
          <ac:chgData name="Anjali Jaisinghani" userId="cad40627-4d93-4324-b144-18a7e046d981" providerId="ADAL" clId="{4CCC4B9B-E313-44C6-9D9B-9F5C1F08D4BD}" dt="2023-03-21T07:06:00.008" v="1382" actId="1076"/>
          <ac:spMkLst>
            <pc:docMk/>
            <pc:sldMk cId="2294442288" sldId="2147469704"/>
            <ac:spMk id="165" creationId="{A616618F-05EE-9391-7D6E-76A06CBB77D0}"/>
          </ac:spMkLst>
        </pc:spChg>
        <pc:grpChg chg="add mod ord">
          <ac:chgData name="Anjali Jaisinghani" userId="cad40627-4d93-4324-b144-18a7e046d981" providerId="ADAL" clId="{4CCC4B9B-E313-44C6-9D9B-9F5C1F08D4BD}" dt="2023-03-22T04:56:39.650" v="1799" actId="1076"/>
          <ac:grpSpMkLst>
            <pc:docMk/>
            <pc:sldMk cId="2294442288" sldId="2147469704"/>
            <ac:grpSpMk id="6" creationId="{018C0906-D978-5B05-2CAE-66A4BB0653A5}"/>
          </ac:grpSpMkLst>
        </pc:grpChg>
        <pc:grpChg chg="mod ord">
          <ac:chgData name="Anjali Jaisinghani" userId="cad40627-4d93-4324-b144-18a7e046d981" providerId="ADAL" clId="{4CCC4B9B-E313-44C6-9D9B-9F5C1F08D4BD}" dt="2023-03-21T11:10:41.293" v="1551" actId="1076"/>
          <ac:grpSpMkLst>
            <pc:docMk/>
            <pc:sldMk cId="2294442288" sldId="2147469704"/>
            <ac:grpSpMk id="23" creationId="{2E91A093-5773-31C9-FD89-2225C08FCA3E}"/>
          </ac:grpSpMkLst>
        </pc:grpChg>
        <pc:grpChg chg="mod">
          <ac:chgData name="Anjali Jaisinghani" userId="cad40627-4d93-4324-b144-18a7e046d981" providerId="ADAL" clId="{4CCC4B9B-E313-44C6-9D9B-9F5C1F08D4BD}" dt="2023-03-22T05:32:30.371" v="1817" actId="1076"/>
          <ac:grpSpMkLst>
            <pc:docMk/>
            <pc:sldMk cId="2294442288" sldId="2147469704"/>
            <ac:grpSpMk id="41" creationId="{3858D292-59F6-151D-9848-05FFD260EFDC}"/>
          </ac:grpSpMkLst>
        </pc:grpChg>
        <pc:grpChg chg="add del mod">
          <ac:chgData name="Anjali Jaisinghani" userId="cad40627-4d93-4324-b144-18a7e046d981" providerId="ADAL" clId="{4CCC4B9B-E313-44C6-9D9B-9F5C1F08D4BD}" dt="2023-03-22T04:53:30.010" v="1774" actId="478"/>
          <ac:grpSpMkLst>
            <pc:docMk/>
            <pc:sldMk cId="2294442288" sldId="2147469704"/>
            <ac:grpSpMk id="96" creationId="{AE3BCB5E-0306-61DC-C8C8-2EB0968A480E}"/>
          </ac:grpSpMkLst>
        </pc:grpChg>
        <pc:grpChg chg="mod">
          <ac:chgData name="Anjali Jaisinghani" userId="cad40627-4d93-4324-b144-18a7e046d981" providerId="ADAL" clId="{4CCC4B9B-E313-44C6-9D9B-9F5C1F08D4BD}" dt="2023-03-21T11:05:40.106" v="1411" actId="1076"/>
          <ac:grpSpMkLst>
            <pc:docMk/>
            <pc:sldMk cId="2294442288" sldId="2147469704"/>
            <ac:grpSpMk id="129" creationId="{819237CA-63B1-366A-8F26-ED8C96FA60D4}"/>
          </ac:grpSpMkLst>
        </pc:grpChg>
        <pc:grpChg chg="mod">
          <ac:chgData name="Anjali Jaisinghani" userId="cad40627-4d93-4324-b144-18a7e046d981" providerId="ADAL" clId="{4CCC4B9B-E313-44C6-9D9B-9F5C1F08D4BD}" dt="2023-03-22T04:45:18.861" v="1704" actId="1076"/>
          <ac:grpSpMkLst>
            <pc:docMk/>
            <pc:sldMk cId="2294442288" sldId="2147469704"/>
            <ac:grpSpMk id="151" creationId="{868B3A6C-E65E-498D-7CC7-BAB7C82BFD2F}"/>
          </ac:grpSpMkLst>
        </pc:grpChg>
        <pc:grpChg chg="mod">
          <ac:chgData name="Anjali Jaisinghani" userId="cad40627-4d93-4324-b144-18a7e046d981" providerId="ADAL" clId="{4CCC4B9B-E313-44C6-9D9B-9F5C1F08D4BD}" dt="2023-03-21T11:05:43.448" v="1412" actId="1076"/>
          <ac:grpSpMkLst>
            <pc:docMk/>
            <pc:sldMk cId="2294442288" sldId="2147469704"/>
            <ac:grpSpMk id="166" creationId="{C6D66FC3-8276-FC03-5FC3-59709CCC7267}"/>
          </ac:grpSpMkLst>
        </pc:grpChg>
        <pc:grpChg chg="mod">
          <ac:chgData name="Anjali Jaisinghani" userId="cad40627-4d93-4324-b144-18a7e046d981" providerId="ADAL" clId="{4CCC4B9B-E313-44C6-9D9B-9F5C1F08D4BD}" dt="2023-03-22T04:55:45.876" v="1791" actId="1076"/>
          <ac:grpSpMkLst>
            <pc:docMk/>
            <pc:sldMk cId="2294442288" sldId="2147469704"/>
            <ac:grpSpMk id="167" creationId="{DE028D8F-6FEC-93D6-3DF8-B262C8013F5C}"/>
          </ac:grpSpMkLst>
        </pc:grpChg>
        <pc:picChg chg="add mod ord">
          <ac:chgData name="Anjali Jaisinghani" userId="cad40627-4d93-4324-b144-18a7e046d981" providerId="ADAL" clId="{4CCC4B9B-E313-44C6-9D9B-9F5C1F08D4BD}" dt="2023-03-22T04:47:06.383" v="1726" actId="166"/>
          <ac:picMkLst>
            <pc:docMk/>
            <pc:sldMk cId="2294442288" sldId="2147469704"/>
            <ac:picMk id="4" creationId="{AE2D81BC-28B4-7D74-C28E-93D46446309E}"/>
          </ac:picMkLst>
        </pc:picChg>
        <pc:picChg chg="mod">
          <ac:chgData name="Anjali Jaisinghani" userId="cad40627-4d93-4324-b144-18a7e046d981" providerId="ADAL" clId="{4CCC4B9B-E313-44C6-9D9B-9F5C1F08D4BD}" dt="2023-03-22T04:43:33.934" v="1687" actId="1076"/>
          <ac:picMkLst>
            <pc:docMk/>
            <pc:sldMk cId="2294442288" sldId="2147469704"/>
            <ac:picMk id="21" creationId="{C5FFAA86-5F36-E2DE-FAC4-85C819E4DBF2}"/>
          </ac:picMkLst>
        </pc:picChg>
        <pc:picChg chg="mod">
          <ac:chgData name="Anjali Jaisinghani" userId="cad40627-4d93-4324-b144-18a7e046d981" providerId="ADAL" clId="{4CCC4B9B-E313-44C6-9D9B-9F5C1F08D4BD}" dt="2023-03-22T05:32:30.371" v="1817" actId="1076"/>
          <ac:picMkLst>
            <pc:docMk/>
            <pc:sldMk cId="2294442288" sldId="2147469704"/>
            <ac:picMk id="39" creationId="{1DEBA1D0-892E-BF56-572C-727405DF2E27}"/>
          </ac:picMkLst>
        </pc:picChg>
        <pc:picChg chg="add del mod">
          <ac:chgData name="Anjali Jaisinghani" userId="cad40627-4d93-4324-b144-18a7e046d981" providerId="ADAL" clId="{4CCC4B9B-E313-44C6-9D9B-9F5C1F08D4BD}" dt="2023-03-22T04:53:06.986" v="1755" actId="478"/>
          <ac:picMkLst>
            <pc:docMk/>
            <pc:sldMk cId="2294442288" sldId="2147469704"/>
            <ac:picMk id="76" creationId="{234455D9-7F37-FB3D-1C71-15F52A9C4BA1}"/>
          </ac:picMkLst>
        </pc:picChg>
        <pc:picChg chg="mod">
          <ac:chgData name="Anjali Jaisinghani" userId="cad40627-4d93-4324-b144-18a7e046d981" providerId="ADAL" clId="{4CCC4B9B-E313-44C6-9D9B-9F5C1F08D4BD}" dt="2023-03-21T07:05:53.636" v="1381" actId="14100"/>
          <ac:picMkLst>
            <pc:docMk/>
            <pc:sldMk cId="2294442288" sldId="2147469704"/>
            <ac:picMk id="161" creationId="{D0B1A323-8B85-288A-D6F3-E9430909E311}"/>
          </ac:picMkLst>
        </pc:picChg>
        <pc:picChg chg="mod">
          <ac:chgData name="Anjali Jaisinghani" userId="cad40627-4d93-4324-b144-18a7e046d981" providerId="ADAL" clId="{4CCC4B9B-E313-44C6-9D9B-9F5C1F08D4BD}" dt="2023-03-22T05:32:30.371" v="1817" actId="1076"/>
          <ac:picMkLst>
            <pc:docMk/>
            <pc:sldMk cId="2294442288" sldId="2147469704"/>
            <ac:picMk id="183" creationId="{F65B063F-69A8-C84A-8E16-92A9FE6C6D1A}"/>
          </ac:picMkLst>
        </pc:picChg>
        <pc:cxnChg chg="add mod ord">
          <ac:chgData name="Anjali Jaisinghani" userId="cad40627-4d93-4324-b144-18a7e046d981" providerId="ADAL" clId="{4CCC4B9B-E313-44C6-9D9B-9F5C1F08D4BD}" dt="2023-03-22T04:56:34.141" v="1798" actId="14100"/>
          <ac:cxnSpMkLst>
            <pc:docMk/>
            <pc:sldMk cId="2294442288" sldId="2147469704"/>
            <ac:cxnSpMk id="16" creationId="{675AA585-E0A6-E044-6648-2E8C4AE6C208}"/>
          </ac:cxnSpMkLst>
        </pc:cxnChg>
        <pc:cxnChg chg="mod">
          <ac:chgData name="Anjali Jaisinghani" userId="cad40627-4d93-4324-b144-18a7e046d981" providerId="ADAL" clId="{4CCC4B9B-E313-44C6-9D9B-9F5C1F08D4BD}" dt="2023-03-21T11:10:41.293" v="1551" actId="1076"/>
          <ac:cxnSpMkLst>
            <pc:docMk/>
            <pc:sldMk cId="2294442288" sldId="2147469704"/>
            <ac:cxnSpMk id="27" creationId="{78093213-20DB-1DEF-87F7-CD473DCEE3AB}"/>
          </ac:cxnSpMkLst>
        </pc:cxnChg>
        <pc:cxnChg chg="mod">
          <ac:chgData name="Anjali Jaisinghani" userId="cad40627-4d93-4324-b144-18a7e046d981" providerId="ADAL" clId="{4CCC4B9B-E313-44C6-9D9B-9F5C1F08D4BD}" dt="2023-03-21T11:10:41.293" v="1551" actId="1076"/>
          <ac:cxnSpMkLst>
            <pc:docMk/>
            <pc:sldMk cId="2294442288" sldId="2147469704"/>
            <ac:cxnSpMk id="28" creationId="{9C741671-46B6-60CD-E5E6-6CFAFAD91BE0}"/>
          </ac:cxnSpMkLst>
        </pc:cxnChg>
        <pc:cxnChg chg="mod">
          <ac:chgData name="Anjali Jaisinghani" userId="cad40627-4d93-4324-b144-18a7e046d981" providerId="ADAL" clId="{4CCC4B9B-E313-44C6-9D9B-9F5C1F08D4BD}" dt="2023-03-22T04:43:33.934" v="1687" actId="1076"/>
          <ac:cxnSpMkLst>
            <pc:docMk/>
            <pc:sldMk cId="2294442288" sldId="2147469704"/>
            <ac:cxnSpMk id="29" creationId="{A047A38E-8095-49E1-C6C4-B19C47E1DFCE}"/>
          </ac:cxnSpMkLst>
        </pc:cxnChg>
        <pc:cxnChg chg="mod">
          <ac:chgData name="Anjali Jaisinghani" userId="cad40627-4d93-4324-b144-18a7e046d981" providerId="ADAL" clId="{4CCC4B9B-E313-44C6-9D9B-9F5C1F08D4BD}" dt="2023-03-22T05:33:09.312" v="1821" actId="1076"/>
          <ac:cxnSpMkLst>
            <pc:docMk/>
            <pc:sldMk cId="2294442288" sldId="2147469704"/>
            <ac:cxnSpMk id="47" creationId="{B9001E1A-85E4-3315-0DEA-DBF0D3028314}"/>
          </ac:cxnSpMkLst>
        </pc:cxnChg>
        <pc:cxnChg chg="mod">
          <ac:chgData name="Anjali Jaisinghani" userId="cad40627-4d93-4324-b144-18a7e046d981" providerId="ADAL" clId="{4CCC4B9B-E313-44C6-9D9B-9F5C1F08D4BD}" dt="2023-03-22T04:55:03.057" v="1785" actId="14100"/>
          <ac:cxnSpMkLst>
            <pc:docMk/>
            <pc:sldMk cId="2294442288" sldId="2147469704"/>
            <ac:cxnSpMk id="48" creationId="{652351F1-676C-474C-B260-36EC42FF2E03}"/>
          </ac:cxnSpMkLst>
        </pc:cxnChg>
        <pc:cxnChg chg="add mod">
          <ac:chgData name="Anjali Jaisinghani" userId="cad40627-4d93-4324-b144-18a7e046d981" providerId="ADAL" clId="{4CCC4B9B-E313-44C6-9D9B-9F5C1F08D4BD}" dt="2023-03-22T04:55:45.876" v="1791" actId="1076"/>
          <ac:cxnSpMkLst>
            <pc:docMk/>
            <pc:sldMk cId="2294442288" sldId="2147469704"/>
            <ac:cxnSpMk id="77" creationId="{AEDFCC9F-8F85-EB72-CE62-FC08D7CF6C9A}"/>
          </ac:cxnSpMkLst>
        </pc:cxnChg>
        <pc:cxnChg chg="add mod">
          <ac:chgData name="Anjali Jaisinghani" userId="cad40627-4d93-4324-b144-18a7e046d981" providerId="ADAL" clId="{4CCC4B9B-E313-44C6-9D9B-9F5C1F08D4BD}" dt="2023-03-22T04:55:59.908" v="1793" actId="14100"/>
          <ac:cxnSpMkLst>
            <pc:docMk/>
            <pc:sldMk cId="2294442288" sldId="2147469704"/>
            <ac:cxnSpMk id="89" creationId="{37E35A9D-4D15-8166-6396-4340552F3580}"/>
          </ac:cxnSpMkLst>
        </pc:cxnChg>
        <pc:cxnChg chg="add mod">
          <ac:chgData name="Anjali Jaisinghani" userId="cad40627-4d93-4324-b144-18a7e046d981" providerId="ADAL" clId="{4CCC4B9B-E313-44C6-9D9B-9F5C1F08D4BD}" dt="2023-03-22T05:33:09.312" v="1821" actId="1076"/>
          <ac:cxnSpMkLst>
            <pc:docMk/>
            <pc:sldMk cId="2294442288" sldId="2147469704"/>
            <ac:cxnSpMk id="109" creationId="{169C5EAA-BE1F-E368-8683-35310888AAAF}"/>
          </ac:cxnSpMkLst>
        </pc:cxnChg>
        <pc:cxnChg chg="mod">
          <ac:chgData name="Anjali Jaisinghani" userId="cad40627-4d93-4324-b144-18a7e046d981" providerId="ADAL" clId="{4CCC4B9B-E313-44C6-9D9B-9F5C1F08D4BD}" dt="2023-03-21T11:05:40.106" v="1411" actId="1076"/>
          <ac:cxnSpMkLst>
            <pc:docMk/>
            <pc:sldMk cId="2294442288" sldId="2147469704"/>
            <ac:cxnSpMk id="111" creationId="{F17292DF-222C-3F23-333A-B26BC2EC82F0}"/>
          </ac:cxnSpMkLst>
        </pc:cxnChg>
        <pc:cxnChg chg="mod">
          <ac:chgData name="Anjali Jaisinghani" userId="cad40627-4d93-4324-b144-18a7e046d981" providerId="ADAL" clId="{4CCC4B9B-E313-44C6-9D9B-9F5C1F08D4BD}" dt="2023-03-21T11:05:40.106" v="1411" actId="1076"/>
          <ac:cxnSpMkLst>
            <pc:docMk/>
            <pc:sldMk cId="2294442288" sldId="2147469704"/>
            <ac:cxnSpMk id="114" creationId="{27E6DB7E-0673-D747-6356-51BC84522526}"/>
          </ac:cxnSpMkLst>
        </pc:cxnChg>
        <pc:cxnChg chg="mod">
          <ac:chgData name="Anjali Jaisinghani" userId="cad40627-4d93-4324-b144-18a7e046d981" providerId="ADAL" clId="{4CCC4B9B-E313-44C6-9D9B-9F5C1F08D4BD}" dt="2023-03-22T04:56:50.021" v="1800" actId="14100"/>
          <ac:cxnSpMkLst>
            <pc:docMk/>
            <pc:sldMk cId="2294442288" sldId="2147469704"/>
            <ac:cxnSpMk id="115" creationId="{C620AFA0-051B-9BAD-3AD7-DF1C56A7EB56}"/>
          </ac:cxnSpMkLst>
        </pc:cxnChg>
      </pc:sldChg>
      <pc:sldChg chg="modSp mod">
        <pc:chgData name="Anjali Jaisinghani" userId="cad40627-4d93-4324-b144-18a7e046d981" providerId="ADAL" clId="{4CCC4B9B-E313-44C6-9D9B-9F5C1F08D4BD}" dt="2023-03-21T06:12:05.034" v="244" actId="20577"/>
        <pc:sldMkLst>
          <pc:docMk/>
          <pc:sldMk cId="3191430499" sldId="2147469706"/>
        </pc:sldMkLst>
        <pc:spChg chg="mod">
          <ac:chgData name="Anjali Jaisinghani" userId="cad40627-4d93-4324-b144-18a7e046d981" providerId="ADAL" clId="{4CCC4B9B-E313-44C6-9D9B-9F5C1F08D4BD}" dt="2023-03-21T06:12:05.034" v="244" actId="20577"/>
          <ac:spMkLst>
            <pc:docMk/>
            <pc:sldMk cId="3191430499" sldId="2147469706"/>
            <ac:spMk id="191" creationId="{1EEB078A-DCD1-4988-F2EC-E285FA9820DC}"/>
          </ac:spMkLst>
        </pc:spChg>
      </pc:sldChg>
      <pc:sldChg chg="del">
        <pc:chgData name="Anjali Jaisinghani" userId="cad40627-4d93-4324-b144-18a7e046d981" providerId="ADAL" clId="{4CCC4B9B-E313-44C6-9D9B-9F5C1F08D4BD}" dt="2023-03-21T05:54:18.707" v="4" actId="47"/>
        <pc:sldMkLst>
          <pc:docMk/>
          <pc:sldMk cId="3941683088" sldId="2147469707"/>
        </pc:sldMkLst>
      </pc:sldChg>
      <pc:sldChg chg="del">
        <pc:chgData name="Anjali Jaisinghani" userId="cad40627-4d93-4324-b144-18a7e046d981" providerId="ADAL" clId="{4CCC4B9B-E313-44C6-9D9B-9F5C1F08D4BD}" dt="2023-03-21T05:54:20.941" v="7" actId="47"/>
        <pc:sldMkLst>
          <pc:docMk/>
          <pc:sldMk cId="1587547754" sldId="2147469708"/>
        </pc:sldMkLst>
      </pc:sldChg>
      <pc:sldChg chg="del">
        <pc:chgData name="Anjali Jaisinghani" userId="cad40627-4d93-4324-b144-18a7e046d981" providerId="ADAL" clId="{4CCC4B9B-E313-44C6-9D9B-9F5C1F08D4BD}" dt="2023-03-21T05:54:20.054" v="6" actId="47"/>
        <pc:sldMkLst>
          <pc:docMk/>
          <pc:sldMk cId="158830538" sldId="2147469709"/>
        </pc:sldMkLst>
      </pc:sldChg>
      <pc:sldChg chg="addSp delSp modSp mod modNotesTx">
        <pc:chgData name="Anjali Jaisinghani" userId="cad40627-4d93-4324-b144-18a7e046d981" providerId="ADAL" clId="{4CCC4B9B-E313-44C6-9D9B-9F5C1F08D4BD}" dt="2023-03-21T11:15:49.833" v="1673" actId="20577"/>
        <pc:sldMkLst>
          <pc:docMk/>
          <pc:sldMk cId="3848336103" sldId="2147469710"/>
        </pc:sldMkLst>
        <pc:spChg chg="mod">
          <ac:chgData name="Anjali Jaisinghani" userId="cad40627-4d93-4324-b144-18a7e046d981" providerId="ADAL" clId="{4CCC4B9B-E313-44C6-9D9B-9F5C1F08D4BD}" dt="2023-03-21T06:58:54.523" v="1298" actId="20577"/>
          <ac:spMkLst>
            <pc:docMk/>
            <pc:sldMk cId="3848336103" sldId="2147469710"/>
            <ac:spMk id="4" creationId="{4BF962F1-8655-3135-C505-63EF76B4E1DD}"/>
          </ac:spMkLst>
        </pc:spChg>
        <pc:spChg chg="mod">
          <ac:chgData name="Anjali Jaisinghani" userId="cad40627-4d93-4324-b144-18a7e046d981" providerId="ADAL" clId="{4CCC4B9B-E313-44C6-9D9B-9F5C1F08D4BD}" dt="2023-03-21T06:13:41.166" v="248" actId="14100"/>
          <ac:spMkLst>
            <pc:docMk/>
            <pc:sldMk cId="3848336103" sldId="2147469710"/>
            <ac:spMk id="23" creationId="{6251F0FC-0EA4-5280-A220-455494423A62}"/>
          </ac:spMkLst>
        </pc:spChg>
        <pc:spChg chg="mod">
          <ac:chgData name="Anjali Jaisinghani" userId="cad40627-4d93-4324-b144-18a7e046d981" providerId="ADAL" clId="{4CCC4B9B-E313-44C6-9D9B-9F5C1F08D4BD}" dt="2023-03-21T06:47:54.449" v="1074" actId="1076"/>
          <ac:spMkLst>
            <pc:docMk/>
            <pc:sldMk cId="3848336103" sldId="2147469710"/>
            <ac:spMk id="24" creationId="{27DCC06E-7A43-D220-C451-E680C0B25A0F}"/>
          </ac:spMkLst>
        </pc:spChg>
        <pc:spChg chg="mod">
          <ac:chgData name="Anjali Jaisinghani" userId="cad40627-4d93-4324-b144-18a7e046d981" providerId="ADAL" clId="{4CCC4B9B-E313-44C6-9D9B-9F5C1F08D4BD}" dt="2023-03-21T06:41:43.366" v="951" actId="1076"/>
          <ac:spMkLst>
            <pc:docMk/>
            <pc:sldMk cId="3848336103" sldId="2147469710"/>
            <ac:spMk id="25" creationId="{CE5FA971-7386-DA6B-D79E-A5888BAC3D55}"/>
          </ac:spMkLst>
        </pc:spChg>
        <pc:spChg chg="mod">
          <ac:chgData name="Anjali Jaisinghani" userId="cad40627-4d93-4324-b144-18a7e046d981" providerId="ADAL" clId="{4CCC4B9B-E313-44C6-9D9B-9F5C1F08D4BD}" dt="2023-03-21T06:41:43.366" v="951" actId="1076"/>
          <ac:spMkLst>
            <pc:docMk/>
            <pc:sldMk cId="3848336103" sldId="2147469710"/>
            <ac:spMk id="26" creationId="{5176A6E6-CDD0-0D5D-03F7-805019785ECE}"/>
          </ac:spMkLst>
        </pc:spChg>
        <pc:spChg chg="add mod">
          <ac:chgData name="Anjali Jaisinghani" userId="cad40627-4d93-4324-b144-18a7e046d981" providerId="ADAL" clId="{4CCC4B9B-E313-44C6-9D9B-9F5C1F08D4BD}" dt="2023-03-21T06:42:12.683" v="957" actId="14100"/>
          <ac:spMkLst>
            <pc:docMk/>
            <pc:sldMk cId="3848336103" sldId="2147469710"/>
            <ac:spMk id="44" creationId="{4CE94C0A-E9F1-68AA-8A01-0EF6E161324F}"/>
          </ac:spMkLst>
        </pc:spChg>
        <pc:spChg chg="add del mod">
          <ac:chgData name="Anjali Jaisinghani" userId="cad40627-4d93-4324-b144-18a7e046d981" providerId="ADAL" clId="{4CCC4B9B-E313-44C6-9D9B-9F5C1F08D4BD}" dt="2023-03-21T06:34:21.880" v="656"/>
          <ac:spMkLst>
            <pc:docMk/>
            <pc:sldMk cId="3848336103" sldId="2147469710"/>
            <ac:spMk id="45" creationId="{DC009B2D-5A31-E71D-B67F-6E245C25E60B}"/>
          </ac:spMkLst>
        </pc:spChg>
        <pc:spChg chg="add mod">
          <ac:chgData name="Anjali Jaisinghani" userId="cad40627-4d93-4324-b144-18a7e046d981" providerId="ADAL" clId="{4CCC4B9B-E313-44C6-9D9B-9F5C1F08D4BD}" dt="2023-03-21T06:43:59.134" v="979" actId="1076"/>
          <ac:spMkLst>
            <pc:docMk/>
            <pc:sldMk cId="3848336103" sldId="2147469710"/>
            <ac:spMk id="46" creationId="{658AA9C0-5C4A-E48D-9FD2-F87C04B49E4E}"/>
          </ac:spMkLst>
        </pc:spChg>
        <pc:spChg chg="add mod">
          <ac:chgData name="Anjali Jaisinghani" userId="cad40627-4d93-4324-b144-18a7e046d981" providerId="ADAL" clId="{4CCC4B9B-E313-44C6-9D9B-9F5C1F08D4BD}" dt="2023-03-21T06:43:35.823" v="976" actId="1076"/>
          <ac:spMkLst>
            <pc:docMk/>
            <pc:sldMk cId="3848336103" sldId="2147469710"/>
            <ac:spMk id="47" creationId="{B50786FF-2A60-9FA1-7C27-CDA5B3DBB158}"/>
          </ac:spMkLst>
        </pc:spChg>
        <pc:spChg chg="add del mod">
          <ac:chgData name="Anjali Jaisinghani" userId="cad40627-4d93-4324-b144-18a7e046d981" providerId="ADAL" clId="{4CCC4B9B-E313-44C6-9D9B-9F5C1F08D4BD}" dt="2023-03-21T06:43:36.524" v="978"/>
          <ac:spMkLst>
            <pc:docMk/>
            <pc:sldMk cId="3848336103" sldId="2147469710"/>
            <ac:spMk id="48" creationId="{67124009-A65E-E496-9530-940E08B6514A}"/>
          </ac:spMkLst>
        </pc:spChg>
        <pc:spChg chg="add del mod">
          <ac:chgData name="Anjali Jaisinghani" userId="cad40627-4d93-4324-b144-18a7e046d981" providerId="ADAL" clId="{4CCC4B9B-E313-44C6-9D9B-9F5C1F08D4BD}" dt="2023-03-21T06:45:46.854" v="1012"/>
          <ac:spMkLst>
            <pc:docMk/>
            <pc:sldMk cId="3848336103" sldId="2147469710"/>
            <ac:spMk id="49" creationId="{1AE8C30A-EA22-06E5-40CD-5D9AD8B15A06}"/>
          </ac:spMkLst>
        </pc:spChg>
        <pc:spChg chg="add mod">
          <ac:chgData name="Anjali Jaisinghani" userId="cad40627-4d93-4324-b144-18a7e046d981" providerId="ADAL" clId="{4CCC4B9B-E313-44C6-9D9B-9F5C1F08D4BD}" dt="2023-03-21T06:47:02.433" v="1052" actId="20577"/>
          <ac:spMkLst>
            <pc:docMk/>
            <pc:sldMk cId="3848336103" sldId="2147469710"/>
            <ac:spMk id="50" creationId="{7A566F6F-042B-2007-74BC-4D37DB4E26BA}"/>
          </ac:spMkLst>
        </pc:spChg>
        <pc:spChg chg="add mod">
          <ac:chgData name="Anjali Jaisinghani" userId="cad40627-4d93-4324-b144-18a7e046d981" providerId="ADAL" clId="{4CCC4B9B-E313-44C6-9D9B-9F5C1F08D4BD}" dt="2023-03-21T06:48:18.729" v="1080" actId="1076"/>
          <ac:spMkLst>
            <pc:docMk/>
            <pc:sldMk cId="3848336103" sldId="2147469710"/>
            <ac:spMk id="51" creationId="{DF62E31B-87A8-2A29-DB2C-3DED739BAD4B}"/>
          </ac:spMkLst>
        </pc:spChg>
        <pc:spChg chg="mod">
          <ac:chgData name="Anjali Jaisinghani" userId="cad40627-4d93-4324-b144-18a7e046d981" providerId="ADAL" clId="{4CCC4B9B-E313-44C6-9D9B-9F5C1F08D4BD}" dt="2023-03-21T06:48:09.950" v="1079"/>
          <ac:spMkLst>
            <pc:docMk/>
            <pc:sldMk cId="3848336103" sldId="2147469710"/>
            <ac:spMk id="90" creationId="{5DD752E6-FD08-45D1-3DB0-113B9FE5621F}"/>
          </ac:spMkLst>
        </pc:spChg>
        <pc:spChg chg="mod">
          <ac:chgData name="Anjali Jaisinghani" userId="cad40627-4d93-4324-b144-18a7e046d981" providerId="ADAL" clId="{4CCC4B9B-E313-44C6-9D9B-9F5C1F08D4BD}" dt="2023-03-21T11:15:49.833" v="1673" actId="20577"/>
          <ac:spMkLst>
            <pc:docMk/>
            <pc:sldMk cId="3848336103" sldId="2147469710"/>
            <ac:spMk id="91" creationId="{C807F93E-9687-7F66-77C1-CFDD89FBF8F0}"/>
          </ac:spMkLst>
        </pc:spChg>
        <pc:spChg chg="mod">
          <ac:chgData name="Anjali Jaisinghani" userId="cad40627-4d93-4324-b144-18a7e046d981" providerId="ADAL" clId="{4CCC4B9B-E313-44C6-9D9B-9F5C1F08D4BD}" dt="2023-03-21T06:41:43.366" v="951" actId="1076"/>
          <ac:spMkLst>
            <pc:docMk/>
            <pc:sldMk cId="3848336103" sldId="2147469710"/>
            <ac:spMk id="101" creationId="{3EDFA45D-7ABE-E373-50BA-3FB0F41026DD}"/>
          </ac:spMkLst>
        </pc:spChg>
        <pc:spChg chg="mod">
          <ac:chgData name="Anjali Jaisinghani" userId="cad40627-4d93-4324-b144-18a7e046d981" providerId="ADAL" clId="{4CCC4B9B-E313-44C6-9D9B-9F5C1F08D4BD}" dt="2023-03-21T06:41:43.366" v="951" actId="1076"/>
          <ac:spMkLst>
            <pc:docMk/>
            <pc:sldMk cId="3848336103" sldId="2147469710"/>
            <ac:spMk id="109" creationId="{D0EADDEB-E03D-4019-68B9-F09D02E1C07F}"/>
          </ac:spMkLst>
        </pc:spChg>
        <pc:spChg chg="mod">
          <ac:chgData name="Anjali Jaisinghani" userId="cad40627-4d93-4324-b144-18a7e046d981" providerId="ADAL" clId="{4CCC4B9B-E313-44C6-9D9B-9F5C1F08D4BD}" dt="2023-03-21T07:06:35.487" v="1389" actId="1076"/>
          <ac:spMkLst>
            <pc:docMk/>
            <pc:sldMk cId="3848336103" sldId="2147469710"/>
            <ac:spMk id="110" creationId="{8F2138CA-BB65-6E5A-F404-10CD16355148}"/>
          </ac:spMkLst>
        </pc:spChg>
        <pc:spChg chg="mod">
          <ac:chgData name="Anjali Jaisinghani" userId="cad40627-4d93-4324-b144-18a7e046d981" providerId="ADAL" clId="{4CCC4B9B-E313-44C6-9D9B-9F5C1F08D4BD}" dt="2023-03-21T06:41:43.366" v="951" actId="1076"/>
          <ac:spMkLst>
            <pc:docMk/>
            <pc:sldMk cId="3848336103" sldId="2147469710"/>
            <ac:spMk id="127" creationId="{DC78A4C4-0CF8-CCB2-A79B-2AAE89FFFA99}"/>
          </ac:spMkLst>
        </pc:spChg>
        <pc:spChg chg="mod">
          <ac:chgData name="Anjali Jaisinghani" userId="cad40627-4d93-4324-b144-18a7e046d981" providerId="ADAL" clId="{4CCC4B9B-E313-44C6-9D9B-9F5C1F08D4BD}" dt="2023-03-21T06:41:43.366" v="951" actId="1076"/>
          <ac:spMkLst>
            <pc:docMk/>
            <pc:sldMk cId="3848336103" sldId="2147469710"/>
            <ac:spMk id="129" creationId="{ADF7D2B6-59FE-E279-5B79-50CC760E8691}"/>
          </ac:spMkLst>
        </pc:spChg>
        <pc:spChg chg="mod">
          <ac:chgData name="Anjali Jaisinghani" userId="cad40627-4d93-4324-b144-18a7e046d981" providerId="ADAL" clId="{4CCC4B9B-E313-44C6-9D9B-9F5C1F08D4BD}" dt="2023-03-21T06:41:43.366" v="951" actId="1076"/>
          <ac:spMkLst>
            <pc:docMk/>
            <pc:sldMk cId="3848336103" sldId="2147469710"/>
            <ac:spMk id="192" creationId="{6D30DEF9-2077-AFFD-21D8-3FAECA8A6184}"/>
          </ac:spMkLst>
        </pc:spChg>
        <pc:spChg chg="mod">
          <ac:chgData name="Anjali Jaisinghani" userId="cad40627-4d93-4324-b144-18a7e046d981" providerId="ADAL" clId="{4CCC4B9B-E313-44C6-9D9B-9F5C1F08D4BD}" dt="2023-03-21T06:41:43.366" v="951" actId="1076"/>
          <ac:spMkLst>
            <pc:docMk/>
            <pc:sldMk cId="3848336103" sldId="2147469710"/>
            <ac:spMk id="194" creationId="{CDC846A7-75CE-767A-7D26-3CF7715E147D}"/>
          </ac:spMkLst>
        </pc:spChg>
        <pc:grpChg chg="mod">
          <ac:chgData name="Anjali Jaisinghani" userId="cad40627-4d93-4324-b144-18a7e046d981" providerId="ADAL" clId="{4CCC4B9B-E313-44C6-9D9B-9F5C1F08D4BD}" dt="2023-03-21T06:41:43.366" v="951" actId="1076"/>
          <ac:grpSpMkLst>
            <pc:docMk/>
            <pc:sldMk cId="3848336103" sldId="2147469710"/>
            <ac:grpSpMk id="11" creationId="{1B847D12-51C8-C464-7E18-2F4CEFA50F5C}"/>
          </ac:grpSpMkLst>
        </pc:grpChg>
        <pc:grpChg chg="add mod">
          <ac:chgData name="Anjali Jaisinghani" userId="cad40627-4d93-4324-b144-18a7e046d981" providerId="ADAL" clId="{4CCC4B9B-E313-44C6-9D9B-9F5C1F08D4BD}" dt="2023-03-21T06:41:43.366" v="951" actId="1076"/>
          <ac:grpSpMkLst>
            <pc:docMk/>
            <pc:sldMk cId="3848336103" sldId="2147469710"/>
            <ac:grpSpMk id="15" creationId="{C0BE113E-018A-FADE-20F9-F5C789BC5824}"/>
          </ac:grpSpMkLst>
        </pc:grpChg>
        <pc:grpChg chg="mod">
          <ac:chgData name="Anjali Jaisinghani" userId="cad40627-4d93-4324-b144-18a7e046d981" providerId="ADAL" clId="{4CCC4B9B-E313-44C6-9D9B-9F5C1F08D4BD}" dt="2023-03-21T06:41:43.366" v="951" actId="1076"/>
          <ac:grpSpMkLst>
            <pc:docMk/>
            <pc:sldMk cId="3848336103" sldId="2147469710"/>
            <ac:grpSpMk id="53" creationId="{A1802E1A-F90C-BE67-560C-6CC53734288F}"/>
          </ac:grpSpMkLst>
        </pc:grpChg>
        <pc:picChg chg="mod">
          <ac:chgData name="Anjali Jaisinghani" userId="cad40627-4d93-4324-b144-18a7e046d981" providerId="ADAL" clId="{4CCC4B9B-E313-44C6-9D9B-9F5C1F08D4BD}" dt="2023-03-21T06:13:47.760" v="249" actId="1076"/>
          <ac:picMkLst>
            <pc:docMk/>
            <pc:sldMk cId="3848336103" sldId="2147469710"/>
            <ac:picMk id="16" creationId="{16236613-AE82-5A3C-C427-905B23EDC94A}"/>
          </ac:picMkLst>
        </pc:picChg>
        <pc:cxnChg chg="mod">
          <ac:chgData name="Anjali Jaisinghani" userId="cad40627-4d93-4324-b144-18a7e046d981" providerId="ADAL" clId="{4CCC4B9B-E313-44C6-9D9B-9F5C1F08D4BD}" dt="2023-03-21T06:47:54.449" v="1074" actId="1076"/>
          <ac:cxnSpMkLst>
            <pc:docMk/>
            <pc:sldMk cId="3848336103" sldId="2147469710"/>
            <ac:cxnSpMk id="12" creationId="{9D4C147D-7405-FD82-7C9E-221ED35FEBFF}"/>
          </ac:cxnSpMkLst>
        </pc:cxnChg>
        <pc:cxnChg chg="mod">
          <ac:chgData name="Anjali Jaisinghani" userId="cad40627-4d93-4324-b144-18a7e046d981" providerId="ADAL" clId="{4CCC4B9B-E313-44C6-9D9B-9F5C1F08D4BD}" dt="2023-03-21T06:41:43.366" v="951" actId="1076"/>
          <ac:cxnSpMkLst>
            <pc:docMk/>
            <pc:sldMk cId="3848336103" sldId="2147469710"/>
            <ac:cxnSpMk id="17" creationId="{CCE9DEF4-C725-66C5-7AFF-25DA83A8F917}"/>
          </ac:cxnSpMkLst>
        </pc:cxnChg>
        <pc:cxnChg chg="mod">
          <ac:chgData name="Anjali Jaisinghani" userId="cad40627-4d93-4324-b144-18a7e046d981" providerId="ADAL" clId="{4CCC4B9B-E313-44C6-9D9B-9F5C1F08D4BD}" dt="2023-03-21T06:41:43.366" v="951" actId="1076"/>
          <ac:cxnSpMkLst>
            <pc:docMk/>
            <pc:sldMk cId="3848336103" sldId="2147469710"/>
            <ac:cxnSpMk id="29" creationId="{4EF92AAF-C2F0-CB9E-14CB-C4BEB25529A5}"/>
          </ac:cxnSpMkLst>
        </pc:cxnChg>
        <pc:cxnChg chg="mod">
          <ac:chgData name="Anjali Jaisinghani" userId="cad40627-4d93-4324-b144-18a7e046d981" providerId="ADAL" clId="{4CCC4B9B-E313-44C6-9D9B-9F5C1F08D4BD}" dt="2023-03-21T06:41:43.366" v="951" actId="1076"/>
          <ac:cxnSpMkLst>
            <pc:docMk/>
            <pc:sldMk cId="3848336103" sldId="2147469710"/>
            <ac:cxnSpMk id="64" creationId="{9393659C-BB10-3B30-2E15-2E85F71CCC95}"/>
          </ac:cxnSpMkLst>
        </pc:cxnChg>
        <pc:cxnChg chg="mod">
          <ac:chgData name="Anjali Jaisinghani" userId="cad40627-4d93-4324-b144-18a7e046d981" providerId="ADAL" clId="{4CCC4B9B-E313-44C6-9D9B-9F5C1F08D4BD}" dt="2023-03-21T06:41:43.366" v="951" actId="1076"/>
          <ac:cxnSpMkLst>
            <pc:docMk/>
            <pc:sldMk cId="3848336103" sldId="2147469710"/>
            <ac:cxnSpMk id="67" creationId="{37B9BB15-34DA-5AE2-F520-5B51BCA0EC2A}"/>
          </ac:cxnSpMkLst>
        </pc:cxnChg>
        <pc:cxnChg chg="mod">
          <ac:chgData name="Anjali Jaisinghani" userId="cad40627-4d93-4324-b144-18a7e046d981" providerId="ADAL" clId="{4CCC4B9B-E313-44C6-9D9B-9F5C1F08D4BD}" dt="2023-03-21T06:47:54.449" v="1074" actId="1076"/>
          <ac:cxnSpMkLst>
            <pc:docMk/>
            <pc:sldMk cId="3848336103" sldId="2147469710"/>
            <ac:cxnSpMk id="68" creationId="{1AD16219-5EFE-FD3A-BD6F-8AE9C1AEF06E}"/>
          </ac:cxnSpMkLst>
        </pc:cxnChg>
        <pc:cxnChg chg="mod">
          <ac:chgData name="Anjali Jaisinghani" userId="cad40627-4d93-4324-b144-18a7e046d981" providerId="ADAL" clId="{4CCC4B9B-E313-44C6-9D9B-9F5C1F08D4BD}" dt="2023-03-21T06:41:43.366" v="951" actId="1076"/>
          <ac:cxnSpMkLst>
            <pc:docMk/>
            <pc:sldMk cId="3848336103" sldId="2147469710"/>
            <ac:cxnSpMk id="82" creationId="{DD0FFAA0-35BB-A3C7-C07D-DE753E70DE1A}"/>
          </ac:cxnSpMkLst>
        </pc:cxnChg>
        <pc:cxnChg chg="mod">
          <ac:chgData name="Anjali Jaisinghani" userId="cad40627-4d93-4324-b144-18a7e046d981" providerId="ADAL" clId="{4CCC4B9B-E313-44C6-9D9B-9F5C1F08D4BD}" dt="2023-03-21T06:41:43.366" v="951" actId="1076"/>
          <ac:cxnSpMkLst>
            <pc:docMk/>
            <pc:sldMk cId="3848336103" sldId="2147469710"/>
            <ac:cxnSpMk id="92" creationId="{8439BEB2-46BB-0BB3-F45B-E88346D18226}"/>
          </ac:cxnSpMkLst>
        </pc:cxnChg>
        <pc:cxnChg chg="mod">
          <ac:chgData name="Anjali Jaisinghani" userId="cad40627-4d93-4324-b144-18a7e046d981" providerId="ADAL" clId="{4CCC4B9B-E313-44C6-9D9B-9F5C1F08D4BD}" dt="2023-03-21T06:41:43.366" v="951" actId="1076"/>
          <ac:cxnSpMkLst>
            <pc:docMk/>
            <pc:sldMk cId="3848336103" sldId="2147469710"/>
            <ac:cxnSpMk id="130" creationId="{7374747F-BFD7-7367-6FA8-E3CE5F96F08D}"/>
          </ac:cxnSpMkLst>
        </pc:cxnChg>
      </pc:sldChg>
      <pc:sldChg chg="addSp delSp modSp mod modNotesTx">
        <pc:chgData name="Anjali Jaisinghani" userId="cad40627-4d93-4324-b144-18a7e046d981" providerId="ADAL" clId="{4CCC4B9B-E313-44C6-9D9B-9F5C1F08D4BD}" dt="2023-03-21T11:18:15.801" v="1676" actId="20577"/>
        <pc:sldMkLst>
          <pc:docMk/>
          <pc:sldMk cId="985525158" sldId="2147469712"/>
        </pc:sldMkLst>
        <pc:spChg chg="mod">
          <ac:chgData name="Anjali Jaisinghani" userId="cad40627-4d93-4324-b144-18a7e046d981" providerId="ADAL" clId="{4CCC4B9B-E313-44C6-9D9B-9F5C1F08D4BD}" dt="2023-03-21T06:05:42.189" v="141" actId="20577"/>
          <ac:spMkLst>
            <pc:docMk/>
            <pc:sldMk cId="985525158" sldId="2147469712"/>
            <ac:spMk id="4" creationId="{8B97B069-4688-311B-3CB0-0B091D7F0F7D}"/>
          </ac:spMkLst>
        </pc:spChg>
        <pc:spChg chg="mod">
          <ac:chgData name="Anjali Jaisinghani" userId="cad40627-4d93-4324-b144-18a7e046d981" providerId="ADAL" clId="{4CCC4B9B-E313-44C6-9D9B-9F5C1F08D4BD}" dt="2023-03-21T06:49:00.735" v="1091" actId="1076"/>
          <ac:spMkLst>
            <pc:docMk/>
            <pc:sldMk cId="985525158" sldId="2147469712"/>
            <ac:spMk id="8" creationId="{7AD66CA9-966B-81EA-BD41-4E6C91FB7957}"/>
          </ac:spMkLst>
        </pc:spChg>
        <pc:spChg chg="mod">
          <ac:chgData name="Anjali Jaisinghani" userId="cad40627-4d93-4324-b144-18a7e046d981" providerId="ADAL" clId="{4CCC4B9B-E313-44C6-9D9B-9F5C1F08D4BD}" dt="2023-03-21T06:58:59.177" v="1299" actId="20577"/>
          <ac:spMkLst>
            <pc:docMk/>
            <pc:sldMk cId="985525158" sldId="2147469712"/>
            <ac:spMk id="9" creationId="{EF01C3D8-DFA2-7BBA-8D2C-F4DAEDE5D49E}"/>
          </ac:spMkLst>
        </pc:spChg>
        <pc:spChg chg="add mod">
          <ac:chgData name="Anjali Jaisinghani" userId="cad40627-4d93-4324-b144-18a7e046d981" providerId="ADAL" clId="{4CCC4B9B-E313-44C6-9D9B-9F5C1F08D4BD}" dt="2023-03-21T06:44:47.187" v="987" actId="14100"/>
          <ac:spMkLst>
            <pc:docMk/>
            <pc:sldMk cId="985525158" sldId="2147469712"/>
            <ac:spMk id="10" creationId="{D831FC45-A935-A164-DC7E-AC58C49B71BB}"/>
          </ac:spMkLst>
        </pc:spChg>
        <pc:spChg chg="add mod">
          <ac:chgData name="Anjali Jaisinghani" userId="cad40627-4d93-4324-b144-18a7e046d981" providerId="ADAL" clId="{4CCC4B9B-E313-44C6-9D9B-9F5C1F08D4BD}" dt="2023-03-21T06:45:16.583" v="1004" actId="1076"/>
          <ac:spMkLst>
            <pc:docMk/>
            <pc:sldMk cId="985525158" sldId="2147469712"/>
            <ac:spMk id="11" creationId="{FFE6E254-757D-97A8-6834-BDCAC2EB5EE3}"/>
          </ac:spMkLst>
        </pc:spChg>
        <pc:spChg chg="add mod">
          <ac:chgData name="Anjali Jaisinghani" userId="cad40627-4d93-4324-b144-18a7e046d981" providerId="ADAL" clId="{4CCC4B9B-E313-44C6-9D9B-9F5C1F08D4BD}" dt="2023-03-21T06:44:58.023" v="996" actId="20577"/>
          <ac:spMkLst>
            <pc:docMk/>
            <pc:sldMk cId="985525158" sldId="2147469712"/>
            <ac:spMk id="12" creationId="{99EFD495-D885-E77D-39F9-A1F49963FBA0}"/>
          </ac:spMkLst>
        </pc:spChg>
        <pc:spChg chg="mod">
          <ac:chgData name="Anjali Jaisinghani" userId="cad40627-4d93-4324-b144-18a7e046d981" providerId="ADAL" clId="{4CCC4B9B-E313-44C6-9D9B-9F5C1F08D4BD}" dt="2023-03-21T06:49:17.416" v="1103" actId="20577"/>
          <ac:spMkLst>
            <pc:docMk/>
            <pc:sldMk cId="985525158" sldId="2147469712"/>
            <ac:spMk id="25" creationId="{28249EED-FA5B-45CA-C5C8-1B3FA69FF180}"/>
          </ac:spMkLst>
        </pc:spChg>
        <pc:spChg chg="add del">
          <ac:chgData name="Anjali Jaisinghani" userId="cad40627-4d93-4324-b144-18a7e046d981" providerId="ADAL" clId="{4CCC4B9B-E313-44C6-9D9B-9F5C1F08D4BD}" dt="2023-03-21T06:45:41.779" v="1010" actId="22"/>
          <ac:spMkLst>
            <pc:docMk/>
            <pc:sldMk cId="985525158" sldId="2147469712"/>
            <ac:spMk id="27" creationId="{29A47FF9-CB74-31CA-DAE4-0F914C660259}"/>
          </ac:spMkLst>
        </pc:spChg>
        <pc:spChg chg="add mod">
          <ac:chgData name="Anjali Jaisinghani" userId="cad40627-4d93-4324-b144-18a7e046d981" providerId="ADAL" clId="{4CCC4B9B-E313-44C6-9D9B-9F5C1F08D4BD}" dt="2023-03-21T06:49:35.425" v="1113" actId="1076"/>
          <ac:spMkLst>
            <pc:docMk/>
            <pc:sldMk cId="985525158" sldId="2147469712"/>
            <ac:spMk id="29" creationId="{4D967063-AD8D-F17E-DB28-4AACA04E8B6B}"/>
          </ac:spMkLst>
        </pc:spChg>
        <pc:spChg chg="add del mod">
          <ac:chgData name="Anjali Jaisinghani" userId="cad40627-4d93-4324-b144-18a7e046d981" providerId="ADAL" clId="{4CCC4B9B-E313-44C6-9D9B-9F5C1F08D4BD}" dt="2023-03-21T06:49:37.406" v="1115" actId="21"/>
          <ac:spMkLst>
            <pc:docMk/>
            <pc:sldMk cId="985525158" sldId="2147469712"/>
            <ac:spMk id="31" creationId="{6A6159D5-8BF8-EDDD-FDCE-454AC703484A}"/>
          </ac:spMkLst>
        </pc:spChg>
        <pc:spChg chg="mod">
          <ac:chgData name="Anjali Jaisinghani" userId="cad40627-4d93-4324-b144-18a7e046d981" providerId="ADAL" clId="{4CCC4B9B-E313-44C6-9D9B-9F5C1F08D4BD}" dt="2023-03-21T06:52:11.954" v="1165" actId="404"/>
          <ac:spMkLst>
            <pc:docMk/>
            <pc:sldMk cId="985525158" sldId="2147469712"/>
            <ac:spMk id="32" creationId="{B7E28A44-4143-9F96-55A4-A1F010846758}"/>
          </ac:spMkLst>
        </pc:spChg>
        <pc:spChg chg="mod">
          <ac:chgData name="Anjali Jaisinghani" userId="cad40627-4d93-4324-b144-18a7e046d981" providerId="ADAL" clId="{4CCC4B9B-E313-44C6-9D9B-9F5C1F08D4BD}" dt="2023-03-21T06:44:13.932" v="980" actId="14100"/>
          <ac:spMkLst>
            <pc:docMk/>
            <pc:sldMk cId="985525158" sldId="2147469712"/>
            <ac:spMk id="37" creationId="{E3604CA3-22CE-28A4-52C3-CE37D6529855}"/>
          </ac:spMkLst>
        </pc:spChg>
        <pc:spChg chg="mod">
          <ac:chgData name="Anjali Jaisinghani" userId="cad40627-4d93-4324-b144-18a7e046d981" providerId="ADAL" clId="{4CCC4B9B-E313-44C6-9D9B-9F5C1F08D4BD}" dt="2023-03-21T11:18:15.801" v="1676" actId="20577"/>
          <ac:spMkLst>
            <pc:docMk/>
            <pc:sldMk cId="985525158" sldId="2147469712"/>
            <ac:spMk id="69" creationId="{194D59B3-1830-0254-AA45-BC7979C02514}"/>
          </ac:spMkLst>
        </pc:spChg>
        <pc:spChg chg="mod">
          <ac:chgData name="Anjali Jaisinghani" userId="cad40627-4d93-4324-b144-18a7e046d981" providerId="ADAL" clId="{4CCC4B9B-E313-44C6-9D9B-9F5C1F08D4BD}" dt="2023-03-21T07:00:00.451" v="1304" actId="20577"/>
          <ac:spMkLst>
            <pc:docMk/>
            <pc:sldMk cId="985525158" sldId="2147469712"/>
            <ac:spMk id="95" creationId="{091A3E93-A8AA-5449-707F-7C2F121C4B15}"/>
          </ac:spMkLst>
        </pc:spChg>
        <pc:spChg chg="mod">
          <ac:chgData name="Anjali Jaisinghani" userId="cad40627-4d93-4324-b144-18a7e046d981" providerId="ADAL" clId="{4CCC4B9B-E313-44C6-9D9B-9F5C1F08D4BD}" dt="2023-03-21T06:47:25.859" v="1072" actId="20577"/>
          <ac:spMkLst>
            <pc:docMk/>
            <pc:sldMk cId="985525158" sldId="2147469712"/>
            <ac:spMk id="96" creationId="{B253058A-5C3E-206F-B4E2-044D38468849}"/>
          </ac:spMkLst>
        </pc:spChg>
        <pc:spChg chg="mod">
          <ac:chgData name="Anjali Jaisinghani" userId="cad40627-4d93-4324-b144-18a7e046d981" providerId="ADAL" clId="{4CCC4B9B-E313-44C6-9D9B-9F5C1F08D4BD}" dt="2023-03-21T07:06:47.840" v="1390" actId="1076"/>
          <ac:spMkLst>
            <pc:docMk/>
            <pc:sldMk cId="985525158" sldId="2147469712"/>
            <ac:spMk id="97" creationId="{2D1C2D7B-F03F-9389-A71B-6FE414E9D05A}"/>
          </ac:spMkLst>
        </pc:spChg>
        <pc:spChg chg="del mod">
          <ac:chgData name="Anjali Jaisinghani" userId="cad40627-4d93-4324-b144-18a7e046d981" providerId="ADAL" clId="{4CCC4B9B-E313-44C6-9D9B-9F5C1F08D4BD}" dt="2023-03-21T06:45:30.898" v="1008"/>
          <ac:spMkLst>
            <pc:docMk/>
            <pc:sldMk cId="985525158" sldId="2147469712"/>
            <ac:spMk id="99" creationId="{FF42A5BE-14A0-5823-43B9-CEA3D65D24CB}"/>
          </ac:spMkLst>
        </pc:spChg>
        <pc:grpChg chg="mod">
          <ac:chgData name="Anjali Jaisinghani" userId="cad40627-4d93-4324-b144-18a7e046d981" providerId="ADAL" clId="{4CCC4B9B-E313-44C6-9D9B-9F5C1F08D4BD}" dt="2023-03-21T06:46:42.348" v="1049" actId="1076"/>
          <ac:grpSpMkLst>
            <pc:docMk/>
            <pc:sldMk cId="985525158" sldId="2147469712"/>
            <ac:grpSpMk id="76" creationId="{EC8DF277-0BF7-A393-68BE-EA02A385795F}"/>
          </ac:grpSpMkLst>
        </pc:grpChg>
        <pc:cxnChg chg="mod">
          <ac:chgData name="Anjali Jaisinghani" userId="cad40627-4d93-4324-b144-18a7e046d981" providerId="ADAL" clId="{4CCC4B9B-E313-44C6-9D9B-9F5C1F08D4BD}" dt="2023-03-21T06:46:42.348" v="1049" actId="1076"/>
          <ac:cxnSpMkLst>
            <pc:docMk/>
            <pc:sldMk cId="985525158" sldId="2147469712"/>
            <ac:cxnSpMk id="33" creationId="{CC082053-A907-0BE1-B6B6-554343B1F305}"/>
          </ac:cxnSpMkLst>
        </pc:cxnChg>
      </pc:sldChg>
      <pc:sldChg chg="addSp delSp modSp mod">
        <pc:chgData name="Anjali Jaisinghani" userId="cad40627-4d93-4324-b144-18a7e046d981" providerId="ADAL" clId="{4CCC4B9B-E313-44C6-9D9B-9F5C1F08D4BD}" dt="2023-03-21T07:05:05.093" v="1355" actId="21"/>
        <pc:sldMkLst>
          <pc:docMk/>
          <pc:sldMk cId="2872002129" sldId="2147469713"/>
        </pc:sldMkLst>
        <pc:spChg chg="mod">
          <ac:chgData name="Anjali Jaisinghani" userId="cad40627-4d93-4324-b144-18a7e046d981" providerId="ADAL" clId="{4CCC4B9B-E313-44C6-9D9B-9F5C1F08D4BD}" dt="2023-03-21T07:02:25.540" v="1340" actId="1076"/>
          <ac:spMkLst>
            <pc:docMk/>
            <pc:sldMk cId="2872002129" sldId="2147469713"/>
            <ac:spMk id="4" creationId="{8B97B069-4688-311B-3CB0-0B091D7F0F7D}"/>
          </ac:spMkLst>
        </pc:spChg>
        <pc:spChg chg="mod">
          <ac:chgData name="Anjali Jaisinghani" userId="cad40627-4d93-4324-b144-18a7e046d981" providerId="ADAL" clId="{4CCC4B9B-E313-44C6-9D9B-9F5C1F08D4BD}" dt="2023-03-21T07:02:25.540" v="1340" actId="1076"/>
          <ac:spMkLst>
            <pc:docMk/>
            <pc:sldMk cId="2872002129" sldId="2147469713"/>
            <ac:spMk id="7" creationId="{0CCC6C6E-CDB4-2CD4-8265-B0327BA12DEF}"/>
          </ac:spMkLst>
        </pc:spChg>
        <pc:spChg chg="mod">
          <ac:chgData name="Anjali Jaisinghani" userId="cad40627-4d93-4324-b144-18a7e046d981" providerId="ADAL" clId="{4CCC4B9B-E313-44C6-9D9B-9F5C1F08D4BD}" dt="2023-03-21T06:50:59.707" v="1130" actId="113"/>
          <ac:spMkLst>
            <pc:docMk/>
            <pc:sldMk cId="2872002129" sldId="2147469713"/>
            <ac:spMk id="8" creationId="{7AD66CA9-966B-81EA-BD41-4E6C91FB7957}"/>
          </ac:spMkLst>
        </pc:spChg>
        <pc:spChg chg="mod">
          <ac:chgData name="Anjali Jaisinghani" userId="cad40627-4d93-4324-b144-18a7e046d981" providerId="ADAL" clId="{4CCC4B9B-E313-44C6-9D9B-9F5C1F08D4BD}" dt="2023-03-21T06:58:41.528" v="1296" actId="404"/>
          <ac:spMkLst>
            <pc:docMk/>
            <pc:sldMk cId="2872002129" sldId="2147469713"/>
            <ac:spMk id="9" creationId="{EF01C3D8-DFA2-7BBA-8D2C-F4DAEDE5D49E}"/>
          </ac:spMkLst>
        </pc:spChg>
        <pc:spChg chg="add mod">
          <ac:chgData name="Anjali Jaisinghani" userId="cad40627-4d93-4324-b144-18a7e046d981" providerId="ADAL" clId="{4CCC4B9B-E313-44C6-9D9B-9F5C1F08D4BD}" dt="2023-03-21T06:49:51.592" v="1118" actId="1076"/>
          <ac:spMkLst>
            <pc:docMk/>
            <pc:sldMk cId="2872002129" sldId="2147469713"/>
            <ac:spMk id="10" creationId="{5902D7A1-8751-7497-0E5E-4302F3F7BCFC}"/>
          </ac:spMkLst>
        </pc:spChg>
        <pc:spChg chg="add mod">
          <ac:chgData name="Anjali Jaisinghani" userId="cad40627-4d93-4324-b144-18a7e046d981" providerId="ADAL" clId="{4CCC4B9B-E313-44C6-9D9B-9F5C1F08D4BD}" dt="2023-03-21T07:02:34.705" v="1342" actId="14100"/>
          <ac:spMkLst>
            <pc:docMk/>
            <pc:sldMk cId="2872002129" sldId="2147469713"/>
            <ac:spMk id="12" creationId="{DE68312F-DDEE-8123-8323-D012744B52F9}"/>
          </ac:spMkLst>
        </pc:spChg>
        <pc:spChg chg="mod">
          <ac:chgData name="Anjali Jaisinghani" userId="cad40627-4d93-4324-b144-18a7e046d981" providerId="ADAL" clId="{4CCC4B9B-E313-44C6-9D9B-9F5C1F08D4BD}" dt="2023-03-21T07:03:12.425" v="1347" actId="1076"/>
          <ac:spMkLst>
            <pc:docMk/>
            <pc:sldMk cId="2872002129" sldId="2147469713"/>
            <ac:spMk id="15" creationId="{701D1454-2C8F-7EDD-E1E4-FD85116E8340}"/>
          </ac:spMkLst>
        </pc:spChg>
        <pc:spChg chg="mod">
          <ac:chgData name="Anjali Jaisinghani" userId="cad40627-4d93-4324-b144-18a7e046d981" providerId="ADAL" clId="{4CCC4B9B-E313-44C6-9D9B-9F5C1F08D4BD}" dt="2023-03-21T07:02:25.540" v="1340" actId="1076"/>
          <ac:spMkLst>
            <pc:docMk/>
            <pc:sldMk cId="2872002129" sldId="2147469713"/>
            <ac:spMk id="17" creationId="{E59F1463-2E24-4960-326F-F9D9D46554B5}"/>
          </ac:spMkLst>
        </pc:spChg>
        <pc:spChg chg="mod">
          <ac:chgData name="Anjali Jaisinghani" userId="cad40627-4d93-4324-b144-18a7e046d981" providerId="ADAL" clId="{4CCC4B9B-E313-44C6-9D9B-9F5C1F08D4BD}" dt="2023-03-21T06:51:08.920" v="1132" actId="113"/>
          <ac:spMkLst>
            <pc:docMk/>
            <pc:sldMk cId="2872002129" sldId="2147469713"/>
            <ac:spMk id="25" creationId="{28249EED-FA5B-45CA-C5C8-1B3FA69FF180}"/>
          </ac:spMkLst>
        </pc:spChg>
        <pc:spChg chg="mod">
          <ac:chgData name="Anjali Jaisinghani" userId="cad40627-4d93-4324-b144-18a7e046d981" providerId="ADAL" clId="{4CCC4B9B-E313-44C6-9D9B-9F5C1F08D4BD}" dt="2023-03-21T06:27:28.720" v="474" actId="20577"/>
          <ac:spMkLst>
            <pc:docMk/>
            <pc:sldMk cId="2872002129" sldId="2147469713"/>
            <ac:spMk id="30" creationId="{04746D72-AC31-4A95-07BE-68FF61453C4F}"/>
          </ac:spMkLst>
        </pc:spChg>
        <pc:spChg chg="mod">
          <ac:chgData name="Anjali Jaisinghani" userId="cad40627-4d93-4324-b144-18a7e046d981" providerId="ADAL" clId="{4CCC4B9B-E313-44C6-9D9B-9F5C1F08D4BD}" dt="2023-03-21T06:54:50.906" v="1209" actId="1076"/>
          <ac:spMkLst>
            <pc:docMk/>
            <pc:sldMk cId="2872002129" sldId="2147469713"/>
            <ac:spMk id="32" creationId="{B7E28A44-4143-9F96-55A4-A1F010846758}"/>
          </ac:spMkLst>
        </pc:spChg>
        <pc:spChg chg="mod">
          <ac:chgData name="Anjali Jaisinghani" userId="cad40627-4d93-4324-b144-18a7e046d981" providerId="ADAL" clId="{4CCC4B9B-E313-44C6-9D9B-9F5C1F08D4BD}" dt="2023-03-21T07:02:31.249" v="1341" actId="14100"/>
          <ac:spMkLst>
            <pc:docMk/>
            <pc:sldMk cId="2872002129" sldId="2147469713"/>
            <ac:spMk id="37" creationId="{E3604CA3-22CE-28A4-52C3-CE37D6529855}"/>
          </ac:spMkLst>
        </pc:spChg>
        <pc:spChg chg="add mod">
          <ac:chgData name="Anjali Jaisinghani" userId="cad40627-4d93-4324-b144-18a7e046d981" providerId="ADAL" clId="{4CCC4B9B-E313-44C6-9D9B-9F5C1F08D4BD}" dt="2023-03-21T06:55:53.044" v="1247" actId="1076"/>
          <ac:spMkLst>
            <pc:docMk/>
            <pc:sldMk cId="2872002129" sldId="2147469713"/>
            <ac:spMk id="38" creationId="{C1B495CB-EB4D-88B6-0EAB-42D3252CBC8E}"/>
          </ac:spMkLst>
        </pc:spChg>
        <pc:spChg chg="add mod">
          <ac:chgData name="Anjali Jaisinghani" userId="cad40627-4d93-4324-b144-18a7e046d981" providerId="ADAL" clId="{4CCC4B9B-E313-44C6-9D9B-9F5C1F08D4BD}" dt="2023-03-21T06:56:10.235" v="1272" actId="114"/>
          <ac:spMkLst>
            <pc:docMk/>
            <pc:sldMk cId="2872002129" sldId="2147469713"/>
            <ac:spMk id="39" creationId="{C5BC783C-16D1-B5E8-54BA-DF6DFE456841}"/>
          </ac:spMkLst>
        </pc:spChg>
        <pc:spChg chg="mod">
          <ac:chgData name="Anjali Jaisinghani" userId="cad40627-4d93-4324-b144-18a7e046d981" providerId="ADAL" clId="{4CCC4B9B-E313-44C6-9D9B-9F5C1F08D4BD}" dt="2023-03-21T07:01:17.882" v="1317" actId="1076"/>
          <ac:spMkLst>
            <pc:docMk/>
            <pc:sldMk cId="2872002129" sldId="2147469713"/>
            <ac:spMk id="40" creationId="{294DD0CF-CC57-6855-D1B8-000B6C7C5A3D}"/>
          </ac:spMkLst>
        </pc:spChg>
        <pc:spChg chg="mod">
          <ac:chgData name="Anjali Jaisinghani" userId="cad40627-4d93-4324-b144-18a7e046d981" providerId="ADAL" clId="{4CCC4B9B-E313-44C6-9D9B-9F5C1F08D4BD}" dt="2023-03-21T07:03:12.425" v="1347" actId="1076"/>
          <ac:spMkLst>
            <pc:docMk/>
            <pc:sldMk cId="2872002129" sldId="2147469713"/>
            <ac:spMk id="43" creationId="{593EEC60-B978-A57B-8466-3FE31AAD0FDE}"/>
          </ac:spMkLst>
        </pc:spChg>
        <pc:spChg chg="mod">
          <ac:chgData name="Anjali Jaisinghani" userId="cad40627-4d93-4324-b144-18a7e046d981" providerId="ADAL" clId="{4CCC4B9B-E313-44C6-9D9B-9F5C1F08D4BD}" dt="2023-03-21T07:03:12.425" v="1347" actId="1076"/>
          <ac:spMkLst>
            <pc:docMk/>
            <pc:sldMk cId="2872002129" sldId="2147469713"/>
            <ac:spMk id="44" creationId="{777A01E1-D858-9FFA-1173-9F8D2B79193F}"/>
          </ac:spMkLst>
        </pc:spChg>
        <pc:spChg chg="add mod">
          <ac:chgData name="Anjali Jaisinghani" userId="cad40627-4d93-4324-b144-18a7e046d981" providerId="ADAL" clId="{4CCC4B9B-E313-44C6-9D9B-9F5C1F08D4BD}" dt="2023-03-21T07:02:40.821" v="1343" actId="1076"/>
          <ac:spMkLst>
            <pc:docMk/>
            <pc:sldMk cId="2872002129" sldId="2147469713"/>
            <ac:spMk id="46" creationId="{FB505974-4EC3-FE88-561B-CE12A52E9414}"/>
          </ac:spMkLst>
        </pc:spChg>
        <pc:spChg chg="add mod">
          <ac:chgData name="Anjali Jaisinghani" userId="cad40627-4d93-4324-b144-18a7e046d981" providerId="ADAL" clId="{4CCC4B9B-E313-44C6-9D9B-9F5C1F08D4BD}" dt="2023-03-21T07:02:46.023" v="1344" actId="1076"/>
          <ac:spMkLst>
            <pc:docMk/>
            <pc:sldMk cId="2872002129" sldId="2147469713"/>
            <ac:spMk id="47" creationId="{09AB66EA-6E66-671E-3704-A3E030E81F51}"/>
          </ac:spMkLst>
        </pc:spChg>
        <pc:spChg chg="mod">
          <ac:chgData name="Anjali Jaisinghani" userId="cad40627-4d93-4324-b144-18a7e046d981" providerId="ADAL" clId="{4CCC4B9B-E313-44C6-9D9B-9F5C1F08D4BD}" dt="2023-03-21T07:02:53.697" v="1345" actId="1076"/>
          <ac:spMkLst>
            <pc:docMk/>
            <pc:sldMk cId="2872002129" sldId="2147469713"/>
            <ac:spMk id="48" creationId="{D0479FCF-228E-A82B-1722-E21513C65133}"/>
          </ac:spMkLst>
        </pc:spChg>
        <pc:spChg chg="mod">
          <ac:chgData name="Anjali Jaisinghani" userId="cad40627-4d93-4324-b144-18a7e046d981" providerId="ADAL" clId="{4CCC4B9B-E313-44C6-9D9B-9F5C1F08D4BD}" dt="2023-03-21T07:02:25.540" v="1340" actId="1076"/>
          <ac:spMkLst>
            <pc:docMk/>
            <pc:sldMk cId="2872002129" sldId="2147469713"/>
            <ac:spMk id="58" creationId="{5E2819F6-2A2B-A221-9D6B-94040C0AB4EA}"/>
          </ac:spMkLst>
        </pc:spChg>
        <pc:spChg chg="mod">
          <ac:chgData name="Anjali Jaisinghani" userId="cad40627-4d93-4324-b144-18a7e046d981" providerId="ADAL" clId="{4CCC4B9B-E313-44C6-9D9B-9F5C1F08D4BD}" dt="2023-03-21T07:02:25.540" v="1340" actId="1076"/>
          <ac:spMkLst>
            <pc:docMk/>
            <pc:sldMk cId="2872002129" sldId="2147469713"/>
            <ac:spMk id="60" creationId="{E612CF2F-34A9-7B9C-83A2-4AB5330297D8}"/>
          </ac:spMkLst>
        </pc:spChg>
        <pc:spChg chg="mod">
          <ac:chgData name="Anjali Jaisinghani" userId="cad40627-4d93-4324-b144-18a7e046d981" providerId="ADAL" clId="{4CCC4B9B-E313-44C6-9D9B-9F5C1F08D4BD}" dt="2023-03-21T07:02:25.540" v="1340" actId="1076"/>
          <ac:spMkLst>
            <pc:docMk/>
            <pc:sldMk cId="2872002129" sldId="2147469713"/>
            <ac:spMk id="65" creationId="{3B4A0638-A725-F0AD-FDB2-CB5B4D245BD4}"/>
          </ac:spMkLst>
        </pc:spChg>
        <pc:spChg chg="mod">
          <ac:chgData name="Anjali Jaisinghani" userId="cad40627-4d93-4324-b144-18a7e046d981" providerId="ADAL" clId="{4CCC4B9B-E313-44C6-9D9B-9F5C1F08D4BD}" dt="2023-03-21T07:02:25.540" v="1340" actId="1076"/>
          <ac:spMkLst>
            <pc:docMk/>
            <pc:sldMk cId="2872002129" sldId="2147469713"/>
            <ac:spMk id="70" creationId="{FEE7C0CE-80B8-16CF-875B-F97757355653}"/>
          </ac:spMkLst>
        </pc:spChg>
        <pc:spChg chg="mod">
          <ac:chgData name="Anjali Jaisinghani" userId="cad40627-4d93-4324-b144-18a7e046d981" providerId="ADAL" clId="{4CCC4B9B-E313-44C6-9D9B-9F5C1F08D4BD}" dt="2023-03-21T07:02:25.540" v="1340" actId="1076"/>
          <ac:spMkLst>
            <pc:docMk/>
            <pc:sldMk cId="2872002129" sldId="2147469713"/>
            <ac:spMk id="71" creationId="{1CC66878-B8A6-DFED-E507-2C239B5AD526}"/>
          </ac:spMkLst>
        </pc:spChg>
        <pc:spChg chg="mod">
          <ac:chgData name="Anjali Jaisinghani" userId="cad40627-4d93-4324-b144-18a7e046d981" providerId="ADAL" clId="{4CCC4B9B-E313-44C6-9D9B-9F5C1F08D4BD}" dt="2023-03-21T07:02:25.540" v="1340" actId="1076"/>
          <ac:spMkLst>
            <pc:docMk/>
            <pc:sldMk cId="2872002129" sldId="2147469713"/>
            <ac:spMk id="72" creationId="{DD552DE7-9252-B6E3-B50F-BF983C85A1BC}"/>
          </ac:spMkLst>
        </pc:spChg>
        <pc:spChg chg="mod">
          <ac:chgData name="Anjali Jaisinghani" userId="cad40627-4d93-4324-b144-18a7e046d981" providerId="ADAL" clId="{4CCC4B9B-E313-44C6-9D9B-9F5C1F08D4BD}" dt="2023-03-21T07:02:25.540" v="1340" actId="1076"/>
          <ac:spMkLst>
            <pc:docMk/>
            <pc:sldMk cId="2872002129" sldId="2147469713"/>
            <ac:spMk id="73" creationId="{ACF7BACE-EDFD-1114-7E3B-A77F3C022824}"/>
          </ac:spMkLst>
        </pc:spChg>
        <pc:spChg chg="mod">
          <ac:chgData name="Anjali Jaisinghani" userId="cad40627-4d93-4324-b144-18a7e046d981" providerId="ADAL" clId="{4CCC4B9B-E313-44C6-9D9B-9F5C1F08D4BD}" dt="2023-03-21T07:02:25.540" v="1340" actId="1076"/>
          <ac:spMkLst>
            <pc:docMk/>
            <pc:sldMk cId="2872002129" sldId="2147469713"/>
            <ac:spMk id="74" creationId="{F904EFCD-F6F4-724F-D799-AE8AF80EBDC2}"/>
          </ac:spMkLst>
        </pc:spChg>
        <pc:spChg chg="mod">
          <ac:chgData name="Anjali Jaisinghani" userId="cad40627-4d93-4324-b144-18a7e046d981" providerId="ADAL" clId="{4CCC4B9B-E313-44C6-9D9B-9F5C1F08D4BD}" dt="2023-03-21T06:54:47.880" v="1207" actId="14100"/>
          <ac:spMkLst>
            <pc:docMk/>
            <pc:sldMk cId="2872002129" sldId="2147469713"/>
            <ac:spMk id="76" creationId="{A7C40B21-59D7-032E-D134-4C7D5CA01425}"/>
          </ac:spMkLst>
        </pc:spChg>
        <pc:spChg chg="mod">
          <ac:chgData name="Anjali Jaisinghani" userId="cad40627-4d93-4324-b144-18a7e046d981" providerId="ADAL" clId="{4CCC4B9B-E313-44C6-9D9B-9F5C1F08D4BD}" dt="2023-03-21T06:55:08.511" v="1213" actId="1076"/>
          <ac:spMkLst>
            <pc:docMk/>
            <pc:sldMk cId="2872002129" sldId="2147469713"/>
            <ac:spMk id="78" creationId="{C1AC398B-3B46-0BAC-2ED5-A73FEC695A4E}"/>
          </ac:spMkLst>
        </pc:spChg>
        <pc:spChg chg="mod">
          <ac:chgData name="Anjali Jaisinghani" userId="cad40627-4d93-4324-b144-18a7e046d981" providerId="ADAL" clId="{4CCC4B9B-E313-44C6-9D9B-9F5C1F08D4BD}" dt="2023-03-21T06:54:56.321" v="1210" actId="1076"/>
          <ac:spMkLst>
            <pc:docMk/>
            <pc:sldMk cId="2872002129" sldId="2147469713"/>
            <ac:spMk id="82" creationId="{5A9E9655-D223-F53C-070D-947CDF9E5F87}"/>
          </ac:spMkLst>
        </pc:spChg>
        <pc:spChg chg="del">
          <ac:chgData name="Anjali Jaisinghani" userId="cad40627-4d93-4324-b144-18a7e046d981" providerId="ADAL" clId="{4CCC4B9B-E313-44C6-9D9B-9F5C1F08D4BD}" dt="2023-03-21T06:54:19.482" v="1200" actId="478"/>
          <ac:spMkLst>
            <pc:docMk/>
            <pc:sldMk cId="2872002129" sldId="2147469713"/>
            <ac:spMk id="84" creationId="{6FA55A56-14B1-FFD1-9D69-BC3516D0056D}"/>
          </ac:spMkLst>
        </pc:spChg>
        <pc:spChg chg="mod">
          <ac:chgData name="Anjali Jaisinghani" userId="cad40627-4d93-4324-b144-18a7e046d981" providerId="ADAL" clId="{4CCC4B9B-E313-44C6-9D9B-9F5C1F08D4BD}" dt="2023-03-21T07:03:12.425" v="1347" actId="1076"/>
          <ac:spMkLst>
            <pc:docMk/>
            <pc:sldMk cId="2872002129" sldId="2147469713"/>
            <ac:spMk id="101" creationId="{BEA8A5D7-EC78-8D4E-3752-E5D5055E0177}"/>
          </ac:spMkLst>
        </pc:spChg>
        <pc:spChg chg="mod">
          <ac:chgData name="Anjali Jaisinghani" userId="cad40627-4d93-4324-b144-18a7e046d981" providerId="ADAL" clId="{4CCC4B9B-E313-44C6-9D9B-9F5C1F08D4BD}" dt="2023-03-21T07:03:12.425" v="1347" actId="1076"/>
          <ac:spMkLst>
            <pc:docMk/>
            <pc:sldMk cId="2872002129" sldId="2147469713"/>
            <ac:spMk id="102" creationId="{0BDFC9C8-1107-1DE9-55BE-29B293FEF459}"/>
          </ac:spMkLst>
        </pc:spChg>
        <pc:spChg chg="mod">
          <ac:chgData name="Anjali Jaisinghani" userId="cad40627-4d93-4324-b144-18a7e046d981" providerId="ADAL" clId="{4CCC4B9B-E313-44C6-9D9B-9F5C1F08D4BD}" dt="2023-03-21T07:03:12.425" v="1347" actId="1076"/>
          <ac:spMkLst>
            <pc:docMk/>
            <pc:sldMk cId="2872002129" sldId="2147469713"/>
            <ac:spMk id="103" creationId="{68B1285C-F374-6B94-847E-FDBD638AFC50}"/>
          </ac:spMkLst>
        </pc:spChg>
        <pc:spChg chg="mod">
          <ac:chgData name="Anjali Jaisinghani" userId="cad40627-4d93-4324-b144-18a7e046d981" providerId="ADAL" clId="{4CCC4B9B-E313-44C6-9D9B-9F5C1F08D4BD}" dt="2023-03-21T07:03:12.425" v="1347" actId="1076"/>
          <ac:spMkLst>
            <pc:docMk/>
            <pc:sldMk cId="2872002129" sldId="2147469713"/>
            <ac:spMk id="106" creationId="{CB82B772-5CC6-DE7A-A57E-2B5E7A413154}"/>
          </ac:spMkLst>
        </pc:spChg>
        <pc:spChg chg="mod">
          <ac:chgData name="Anjali Jaisinghani" userId="cad40627-4d93-4324-b144-18a7e046d981" providerId="ADAL" clId="{4CCC4B9B-E313-44C6-9D9B-9F5C1F08D4BD}" dt="2023-03-21T07:03:12.425" v="1347" actId="1076"/>
          <ac:spMkLst>
            <pc:docMk/>
            <pc:sldMk cId="2872002129" sldId="2147469713"/>
            <ac:spMk id="107" creationId="{EE47E8FF-E733-042E-C935-DE638157C8E0}"/>
          </ac:spMkLst>
        </pc:spChg>
        <pc:spChg chg="mod">
          <ac:chgData name="Anjali Jaisinghani" userId="cad40627-4d93-4324-b144-18a7e046d981" providerId="ADAL" clId="{4CCC4B9B-E313-44C6-9D9B-9F5C1F08D4BD}" dt="2023-03-21T07:02:58.824" v="1346" actId="1076"/>
          <ac:spMkLst>
            <pc:docMk/>
            <pc:sldMk cId="2872002129" sldId="2147469713"/>
            <ac:spMk id="125" creationId="{F1DDD7E4-9914-7D53-A1C1-8E8B8B23B637}"/>
          </ac:spMkLst>
        </pc:spChg>
        <pc:spChg chg="mod">
          <ac:chgData name="Anjali Jaisinghani" userId="cad40627-4d93-4324-b144-18a7e046d981" providerId="ADAL" clId="{4CCC4B9B-E313-44C6-9D9B-9F5C1F08D4BD}" dt="2023-03-21T07:00:20.507" v="1310" actId="6549"/>
          <ac:spMkLst>
            <pc:docMk/>
            <pc:sldMk cId="2872002129" sldId="2147469713"/>
            <ac:spMk id="142" creationId="{F787A565-7B7B-5615-A95C-5DD3CB056DF8}"/>
          </ac:spMkLst>
        </pc:spChg>
        <pc:spChg chg="mod">
          <ac:chgData name="Anjali Jaisinghani" userId="cad40627-4d93-4324-b144-18a7e046d981" providerId="ADAL" clId="{4CCC4B9B-E313-44C6-9D9B-9F5C1F08D4BD}" dt="2023-03-21T07:02:25.540" v="1340" actId="1076"/>
          <ac:spMkLst>
            <pc:docMk/>
            <pc:sldMk cId="2872002129" sldId="2147469713"/>
            <ac:spMk id="143" creationId="{E257AF9B-1B35-319C-43EA-341FE2631977}"/>
          </ac:spMkLst>
        </pc:spChg>
        <pc:spChg chg="mod">
          <ac:chgData name="Anjali Jaisinghani" userId="cad40627-4d93-4324-b144-18a7e046d981" providerId="ADAL" clId="{4CCC4B9B-E313-44C6-9D9B-9F5C1F08D4BD}" dt="2023-03-21T07:02:25.540" v="1340" actId="1076"/>
          <ac:spMkLst>
            <pc:docMk/>
            <pc:sldMk cId="2872002129" sldId="2147469713"/>
            <ac:spMk id="144" creationId="{D1A92629-2331-0EF3-1E65-1191B1DA4649}"/>
          </ac:spMkLst>
        </pc:spChg>
        <pc:spChg chg="mod">
          <ac:chgData name="Anjali Jaisinghani" userId="cad40627-4d93-4324-b144-18a7e046d981" providerId="ADAL" clId="{4CCC4B9B-E313-44C6-9D9B-9F5C1F08D4BD}" dt="2023-03-21T07:01:01.516" v="1314" actId="1076"/>
          <ac:spMkLst>
            <pc:docMk/>
            <pc:sldMk cId="2872002129" sldId="2147469713"/>
            <ac:spMk id="146" creationId="{151E4856-0D8A-1411-9F76-F8E5AB244BA0}"/>
          </ac:spMkLst>
        </pc:spChg>
        <pc:spChg chg="del">
          <ac:chgData name="Anjali Jaisinghani" userId="cad40627-4d93-4324-b144-18a7e046d981" providerId="ADAL" clId="{4CCC4B9B-E313-44C6-9D9B-9F5C1F08D4BD}" dt="2023-03-21T06:49:42.717" v="1117" actId="478"/>
          <ac:spMkLst>
            <pc:docMk/>
            <pc:sldMk cId="2872002129" sldId="2147469713"/>
            <ac:spMk id="153" creationId="{C304B21E-D2A3-692B-75A8-24601BDE67CA}"/>
          </ac:spMkLst>
        </pc:spChg>
        <pc:spChg chg="mod">
          <ac:chgData name="Anjali Jaisinghani" userId="cad40627-4d93-4324-b144-18a7e046d981" providerId="ADAL" clId="{4CCC4B9B-E313-44C6-9D9B-9F5C1F08D4BD}" dt="2023-03-21T06:59:25.589" v="1300" actId="14100"/>
          <ac:spMkLst>
            <pc:docMk/>
            <pc:sldMk cId="2872002129" sldId="2147469713"/>
            <ac:spMk id="155" creationId="{10ADBAF9-5C0E-A203-FA36-C36ECB233AAA}"/>
          </ac:spMkLst>
        </pc:spChg>
        <pc:spChg chg="mod">
          <ac:chgData name="Anjali Jaisinghani" userId="cad40627-4d93-4324-b144-18a7e046d981" providerId="ADAL" clId="{4CCC4B9B-E313-44C6-9D9B-9F5C1F08D4BD}" dt="2023-03-21T07:03:20.017" v="1348" actId="1076"/>
          <ac:spMkLst>
            <pc:docMk/>
            <pc:sldMk cId="2872002129" sldId="2147469713"/>
            <ac:spMk id="156" creationId="{88B47F47-DCF4-2708-662E-5E1411EDA7BC}"/>
          </ac:spMkLst>
        </pc:spChg>
        <pc:spChg chg="mod">
          <ac:chgData name="Anjali Jaisinghani" userId="cad40627-4d93-4324-b144-18a7e046d981" providerId="ADAL" clId="{4CCC4B9B-E313-44C6-9D9B-9F5C1F08D4BD}" dt="2023-03-21T07:03:41.988" v="1351" actId="14100"/>
          <ac:spMkLst>
            <pc:docMk/>
            <pc:sldMk cId="2872002129" sldId="2147469713"/>
            <ac:spMk id="157" creationId="{1724F9A6-5F94-AC36-D6E2-010908DA4C5E}"/>
          </ac:spMkLst>
        </pc:spChg>
        <pc:spChg chg="del mod">
          <ac:chgData name="Anjali Jaisinghani" userId="cad40627-4d93-4324-b144-18a7e046d981" providerId="ADAL" clId="{4CCC4B9B-E313-44C6-9D9B-9F5C1F08D4BD}" dt="2023-03-21T06:27:48.818" v="494" actId="478"/>
          <ac:spMkLst>
            <pc:docMk/>
            <pc:sldMk cId="2872002129" sldId="2147469713"/>
            <ac:spMk id="158" creationId="{F7CB3AFC-31E5-4836-2FE5-4539D7320130}"/>
          </ac:spMkLst>
        </pc:spChg>
        <pc:spChg chg="mod">
          <ac:chgData name="Anjali Jaisinghani" userId="cad40627-4d93-4324-b144-18a7e046d981" providerId="ADAL" clId="{4CCC4B9B-E313-44C6-9D9B-9F5C1F08D4BD}" dt="2023-03-21T07:03:52.573" v="1353" actId="14100"/>
          <ac:spMkLst>
            <pc:docMk/>
            <pc:sldMk cId="2872002129" sldId="2147469713"/>
            <ac:spMk id="160" creationId="{50CF7805-48A1-35CD-10EA-5F38B8B2FC03}"/>
          </ac:spMkLst>
        </pc:spChg>
        <pc:picChg chg="add del mod">
          <ac:chgData name="Anjali Jaisinghani" userId="cad40627-4d93-4324-b144-18a7e046d981" providerId="ADAL" clId="{4CCC4B9B-E313-44C6-9D9B-9F5C1F08D4BD}" dt="2023-03-21T07:05:05.093" v="1355" actId="21"/>
          <ac:picMkLst>
            <pc:docMk/>
            <pc:sldMk cId="2872002129" sldId="2147469713"/>
            <ac:picMk id="54" creationId="{76745EFD-555C-3F8D-FC56-F423816C358C}"/>
          </ac:picMkLst>
        </pc:picChg>
        <pc:picChg chg="del">
          <ac:chgData name="Anjali Jaisinghani" userId="cad40627-4d93-4324-b144-18a7e046d981" providerId="ADAL" clId="{4CCC4B9B-E313-44C6-9D9B-9F5C1F08D4BD}" dt="2023-03-21T06:54:22.031" v="1201" actId="478"/>
          <ac:picMkLst>
            <pc:docMk/>
            <pc:sldMk cId="2872002129" sldId="2147469713"/>
            <ac:picMk id="151" creationId="{07D6C255-7E1A-39A4-BFA2-BF3F636A502C}"/>
          </ac:picMkLst>
        </pc:picChg>
        <pc:cxnChg chg="mod">
          <ac:chgData name="Anjali Jaisinghani" userId="cad40627-4d93-4324-b144-18a7e046d981" providerId="ADAL" clId="{4CCC4B9B-E313-44C6-9D9B-9F5C1F08D4BD}" dt="2023-03-21T07:02:25.540" v="1340" actId="1076"/>
          <ac:cxnSpMkLst>
            <pc:docMk/>
            <pc:sldMk cId="2872002129" sldId="2147469713"/>
            <ac:cxnSpMk id="23" creationId="{6FB29603-628F-296B-0CA0-32D579B2F363}"/>
          </ac:cxnSpMkLst>
        </pc:cxnChg>
        <pc:cxnChg chg="mod">
          <ac:chgData name="Anjali Jaisinghani" userId="cad40627-4d93-4324-b144-18a7e046d981" providerId="ADAL" clId="{4CCC4B9B-E313-44C6-9D9B-9F5C1F08D4BD}" dt="2023-03-21T07:03:12.425" v="1347" actId="1076"/>
          <ac:cxnSpMkLst>
            <pc:docMk/>
            <pc:sldMk cId="2872002129" sldId="2147469713"/>
            <ac:cxnSpMk id="24" creationId="{8EDE1B53-69F8-98FF-1686-467E2180C9BD}"/>
          </ac:cxnSpMkLst>
        </pc:cxnChg>
        <pc:cxnChg chg="mod">
          <ac:chgData name="Anjali Jaisinghani" userId="cad40627-4d93-4324-b144-18a7e046d981" providerId="ADAL" clId="{4CCC4B9B-E313-44C6-9D9B-9F5C1F08D4BD}" dt="2023-03-21T06:54:50.906" v="1209" actId="1076"/>
          <ac:cxnSpMkLst>
            <pc:docMk/>
            <pc:sldMk cId="2872002129" sldId="2147469713"/>
            <ac:cxnSpMk id="33" creationId="{CC082053-A907-0BE1-B6B6-554343B1F305}"/>
          </ac:cxnSpMkLst>
        </pc:cxnChg>
        <pc:cxnChg chg="mod">
          <ac:chgData name="Anjali Jaisinghani" userId="cad40627-4d93-4324-b144-18a7e046d981" providerId="ADAL" clId="{4CCC4B9B-E313-44C6-9D9B-9F5C1F08D4BD}" dt="2023-03-21T07:02:25.540" v="1340" actId="1076"/>
          <ac:cxnSpMkLst>
            <pc:docMk/>
            <pc:sldMk cId="2872002129" sldId="2147469713"/>
            <ac:cxnSpMk id="112" creationId="{E5C9D652-6B7E-863C-F2F6-3E932F4A1987}"/>
          </ac:cxnSpMkLst>
        </pc:cxnChg>
        <pc:cxnChg chg="mod">
          <ac:chgData name="Anjali Jaisinghani" userId="cad40627-4d93-4324-b144-18a7e046d981" providerId="ADAL" clId="{4CCC4B9B-E313-44C6-9D9B-9F5C1F08D4BD}" dt="2023-03-21T07:02:25.540" v="1340" actId="1076"/>
          <ac:cxnSpMkLst>
            <pc:docMk/>
            <pc:sldMk cId="2872002129" sldId="2147469713"/>
            <ac:cxnSpMk id="113" creationId="{DA51A294-8995-17F7-F27E-1084BF4E3FD3}"/>
          </ac:cxnSpMkLst>
        </pc:cxnChg>
        <pc:cxnChg chg="mod">
          <ac:chgData name="Anjali Jaisinghani" userId="cad40627-4d93-4324-b144-18a7e046d981" providerId="ADAL" clId="{4CCC4B9B-E313-44C6-9D9B-9F5C1F08D4BD}" dt="2023-03-21T07:02:25.540" v="1340" actId="1076"/>
          <ac:cxnSpMkLst>
            <pc:docMk/>
            <pc:sldMk cId="2872002129" sldId="2147469713"/>
            <ac:cxnSpMk id="116" creationId="{290A0A3A-1507-54FB-B2C5-3372AAA16F32}"/>
          </ac:cxnSpMkLst>
        </pc:cxnChg>
      </pc:sldChg>
    </pc:docChg>
  </pc:docChgLst>
  <pc:docChgLst>
    <pc:chgData name="Anjali Jaisinghani" userId="cad40627-4d93-4324-b144-18a7e046d981" providerId="ADAL" clId="{33619D88-3F50-494B-83B9-988F8B17CC2F}"/>
    <pc:docChg chg="undo redo custSel addSld delSld modSld sldOrd">
      <pc:chgData name="Anjali Jaisinghani" userId="cad40627-4d93-4324-b144-18a7e046d981" providerId="ADAL" clId="{33619D88-3F50-494B-83B9-988F8B17CC2F}" dt="2023-03-21T05:51:30.049" v="9927" actId="20577"/>
      <pc:docMkLst>
        <pc:docMk/>
      </pc:docMkLst>
      <pc:sldChg chg="addSp delSp modSp mod">
        <pc:chgData name="Anjali Jaisinghani" userId="cad40627-4d93-4324-b144-18a7e046d981" providerId="ADAL" clId="{33619D88-3F50-494B-83B9-988F8B17CC2F}" dt="2023-03-15T10:57:12.906" v="208" actId="20577"/>
        <pc:sldMkLst>
          <pc:docMk/>
          <pc:sldMk cId="927378588" sldId="285"/>
        </pc:sldMkLst>
        <pc:spChg chg="del mod">
          <ac:chgData name="Anjali Jaisinghani" userId="cad40627-4d93-4324-b144-18a7e046d981" providerId="ADAL" clId="{33619D88-3F50-494B-83B9-988F8B17CC2F}" dt="2023-03-14T11:43:18.372" v="2" actId="478"/>
          <ac:spMkLst>
            <pc:docMk/>
            <pc:sldMk cId="927378588" sldId="285"/>
            <ac:spMk id="2" creationId="{9965CE8B-A1A4-5039-E2D5-FCFF8F0E36D3}"/>
          </ac:spMkLst>
        </pc:spChg>
        <pc:spChg chg="del">
          <ac:chgData name="Anjali Jaisinghani" userId="cad40627-4d93-4324-b144-18a7e046d981" providerId="ADAL" clId="{33619D88-3F50-494B-83B9-988F8B17CC2F}" dt="2023-03-14T11:43:31.473" v="3" actId="478"/>
          <ac:spMkLst>
            <pc:docMk/>
            <pc:sldMk cId="927378588" sldId="285"/>
            <ac:spMk id="5" creationId="{4A603AA0-394E-4A47-8900-ACCD9A57C8DC}"/>
          </ac:spMkLst>
        </pc:spChg>
        <pc:spChg chg="add mod">
          <ac:chgData name="Anjali Jaisinghani" userId="cad40627-4d93-4324-b144-18a7e046d981" providerId="ADAL" clId="{33619D88-3F50-494B-83B9-988F8B17CC2F}" dt="2023-03-15T10:57:12.906" v="208" actId="20577"/>
          <ac:spMkLst>
            <pc:docMk/>
            <pc:sldMk cId="927378588" sldId="285"/>
            <ac:spMk id="8" creationId="{568ADBD7-5B2C-D28D-8934-B61A2193A368}"/>
          </ac:spMkLst>
        </pc:spChg>
      </pc:sldChg>
      <pc:sldChg chg="addSp delSp modSp mod modShow">
        <pc:chgData name="Anjali Jaisinghani" userId="cad40627-4d93-4324-b144-18a7e046d981" providerId="ADAL" clId="{33619D88-3F50-494B-83B9-988F8B17CC2F}" dt="2023-03-17T09:11:24.758" v="2301" actId="729"/>
        <pc:sldMkLst>
          <pc:docMk/>
          <pc:sldMk cId="3172846348" sldId="288"/>
        </pc:sldMkLst>
        <pc:spChg chg="mod">
          <ac:chgData name="Anjali Jaisinghani" userId="cad40627-4d93-4324-b144-18a7e046d981" providerId="ADAL" clId="{33619D88-3F50-494B-83B9-988F8B17CC2F}" dt="2023-03-15T11:23:04.890" v="425" actId="20577"/>
          <ac:spMkLst>
            <pc:docMk/>
            <pc:sldMk cId="3172846348" sldId="288"/>
            <ac:spMk id="3" creationId="{BEED6AB6-42E1-4286-B3E1-A19472D324C1}"/>
          </ac:spMkLst>
        </pc:spChg>
        <pc:picChg chg="add mod">
          <ac:chgData name="Anjali Jaisinghani" userId="cad40627-4d93-4324-b144-18a7e046d981" providerId="ADAL" clId="{33619D88-3F50-494B-83B9-988F8B17CC2F}" dt="2023-03-17T07:42:14.170" v="1040" actId="1076"/>
          <ac:picMkLst>
            <pc:docMk/>
            <pc:sldMk cId="3172846348" sldId="288"/>
            <ac:picMk id="7" creationId="{A8385362-65B4-A1C6-ADF9-2807D0585E9C}"/>
          </ac:picMkLst>
        </pc:picChg>
        <pc:picChg chg="add del mod">
          <ac:chgData name="Anjali Jaisinghani" userId="cad40627-4d93-4324-b144-18a7e046d981" providerId="ADAL" clId="{33619D88-3F50-494B-83B9-988F8B17CC2F}" dt="2023-03-16T06:16:43.054" v="467" actId="478"/>
          <ac:picMkLst>
            <pc:docMk/>
            <pc:sldMk cId="3172846348" sldId="288"/>
            <ac:picMk id="3074" creationId="{5DD47E6E-62AC-6D23-CA89-54DA169224E1}"/>
          </ac:picMkLst>
        </pc:picChg>
        <pc:picChg chg="add del mod">
          <ac:chgData name="Anjali Jaisinghani" userId="cad40627-4d93-4324-b144-18a7e046d981" providerId="ADAL" clId="{33619D88-3F50-494B-83B9-988F8B17CC2F}" dt="2023-03-17T07:42:07.324" v="1038" actId="478"/>
          <ac:picMkLst>
            <pc:docMk/>
            <pc:sldMk cId="3172846348" sldId="288"/>
            <ac:picMk id="3076" creationId="{B9089252-96FF-F19B-1C43-E3E3F7CE5134}"/>
          </ac:picMkLst>
        </pc:picChg>
      </pc:sldChg>
      <pc:sldChg chg="addSp delSp modSp mod modShow">
        <pc:chgData name="Anjali Jaisinghani" userId="cad40627-4d93-4324-b144-18a7e046d981" providerId="ADAL" clId="{33619D88-3F50-494B-83B9-988F8B17CC2F}" dt="2023-03-17T10:57:54.625" v="3710" actId="729"/>
        <pc:sldMkLst>
          <pc:docMk/>
          <pc:sldMk cId="3232454339" sldId="289"/>
        </pc:sldMkLst>
        <pc:spChg chg="mod">
          <ac:chgData name="Anjali Jaisinghani" userId="cad40627-4d93-4324-b144-18a7e046d981" providerId="ADAL" clId="{33619D88-3F50-494B-83B9-988F8B17CC2F}" dt="2023-03-15T11:23:22.847" v="431" actId="20577"/>
          <ac:spMkLst>
            <pc:docMk/>
            <pc:sldMk cId="3232454339" sldId="289"/>
            <ac:spMk id="3" creationId="{BEED6AB6-42E1-4286-B3E1-A19472D324C1}"/>
          </ac:spMkLst>
        </pc:spChg>
        <pc:spChg chg="del">
          <ac:chgData name="Anjali Jaisinghani" userId="cad40627-4d93-4324-b144-18a7e046d981" providerId="ADAL" clId="{33619D88-3F50-494B-83B9-988F8B17CC2F}" dt="2023-03-15T04:13:56.116" v="9" actId="931"/>
          <ac:spMkLst>
            <pc:docMk/>
            <pc:sldMk cId="3232454339" sldId="289"/>
            <ac:spMk id="4" creationId="{2CB04F51-920A-4BF3-8698-2DB7F579F486}"/>
          </ac:spMkLst>
        </pc:spChg>
        <pc:picChg chg="add mod ord">
          <ac:chgData name="Anjali Jaisinghani" userId="cad40627-4d93-4324-b144-18a7e046d981" providerId="ADAL" clId="{33619D88-3F50-494B-83B9-988F8B17CC2F}" dt="2023-03-17T07:41:54.462" v="1037" actId="1076"/>
          <ac:picMkLst>
            <pc:docMk/>
            <pc:sldMk cId="3232454339" sldId="289"/>
            <ac:picMk id="8" creationId="{A66F2A6A-9D6F-85F3-0E8B-208B7B772373}"/>
          </ac:picMkLst>
        </pc:picChg>
        <pc:picChg chg="add del mod">
          <ac:chgData name="Anjali Jaisinghani" userId="cad40627-4d93-4324-b144-18a7e046d981" providerId="ADAL" clId="{33619D88-3F50-494B-83B9-988F8B17CC2F}" dt="2023-03-17T07:40:49.071" v="1019" actId="478"/>
          <ac:picMkLst>
            <pc:docMk/>
            <pc:sldMk cId="3232454339" sldId="289"/>
            <ac:picMk id="2050" creationId="{D7E2D329-018C-6D44-6075-7070F06E736F}"/>
          </ac:picMkLst>
        </pc:picChg>
      </pc:sldChg>
      <pc:sldChg chg="addSp delSp modSp mod modShow">
        <pc:chgData name="Anjali Jaisinghani" userId="cad40627-4d93-4324-b144-18a7e046d981" providerId="ADAL" clId="{33619D88-3F50-494B-83B9-988F8B17CC2F}" dt="2023-03-17T06:21:30.214" v="475" actId="729"/>
        <pc:sldMkLst>
          <pc:docMk/>
          <pc:sldMk cId="2915731044" sldId="290"/>
        </pc:sldMkLst>
        <pc:spChg chg="del">
          <ac:chgData name="Anjali Jaisinghani" userId="cad40627-4d93-4324-b144-18a7e046d981" providerId="ADAL" clId="{33619D88-3F50-494B-83B9-988F8B17CC2F}" dt="2023-03-15T04:13:30.537" v="5" actId="931"/>
          <ac:spMkLst>
            <pc:docMk/>
            <pc:sldMk cId="2915731044" sldId="290"/>
            <ac:spMk id="4" creationId="{2CB04F51-920A-4BF3-8698-2DB7F579F486}"/>
          </ac:spMkLst>
        </pc:spChg>
        <pc:picChg chg="add mod ord">
          <ac:chgData name="Anjali Jaisinghani" userId="cad40627-4d93-4324-b144-18a7e046d981" providerId="ADAL" clId="{33619D88-3F50-494B-83B9-988F8B17CC2F}" dt="2023-03-16T08:35:10.924" v="471" actId="1076"/>
          <ac:picMkLst>
            <pc:docMk/>
            <pc:sldMk cId="2915731044" sldId="290"/>
            <ac:picMk id="8" creationId="{A7CD7CA8-BAE6-3D46-CAE5-B60B682B563E}"/>
          </ac:picMkLst>
        </pc:picChg>
        <pc:picChg chg="add del mod">
          <ac:chgData name="Anjali Jaisinghani" userId="cad40627-4d93-4324-b144-18a7e046d981" providerId="ADAL" clId="{33619D88-3F50-494B-83B9-988F8B17CC2F}" dt="2023-03-16T04:56:01.928" v="463" actId="478"/>
          <ac:picMkLst>
            <pc:docMk/>
            <pc:sldMk cId="2915731044" sldId="290"/>
            <ac:picMk id="5122" creationId="{F164014A-BFBD-88D8-8C7C-6A3C4A39FF6E}"/>
          </ac:picMkLst>
        </pc:picChg>
      </pc:sldChg>
      <pc:sldChg chg="addSp delSp modSp mod modShow">
        <pc:chgData name="Anjali Jaisinghani" userId="cad40627-4d93-4324-b144-18a7e046d981" providerId="ADAL" clId="{33619D88-3F50-494B-83B9-988F8B17CC2F}" dt="2023-03-17T10:58:31.812" v="3712" actId="729"/>
        <pc:sldMkLst>
          <pc:docMk/>
          <pc:sldMk cId="237059039" sldId="292"/>
        </pc:sldMkLst>
        <pc:spChg chg="mod">
          <ac:chgData name="Anjali Jaisinghani" userId="cad40627-4d93-4324-b144-18a7e046d981" providerId="ADAL" clId="{33619D88-3F50-494B-83B9-988F8B17CC2F}" dt="2023-03-15T11:23:46.520" v="434" actId="20577"/>
          <ac:spMkLst>
            <pc:docMk/>
            <pc:sldMk cId="237059039" sldId="292"/>
            <ac:spMk id="3" creationId="{BEED6AB6-42E1-4286-B3E1-A19472D324C1}"/>
          </ac:spMkLst>
        </pc:spChg>
        <pc:spChg chg="add del">
          <ac:chgData name="Anjali Jaisinghani" userId="cad40627-4d93-4324-b144-18a7e046d981" providerId="ADAL" clId="{33619D88-3F50-494B-83B9-988F8B17CC2F}" dt="2023-03-15T11:19:37.954" v="368" actId="478"/>
          <ac:spMkLst>
            <pc:docMk/>
            <pc:sldMk cId="237059039" sldId="292"/>
            <ac:spMk id="4" creationId="{2CB04F51-920A-4BF3-8698-2DB7F579F486}"/>
          </ac:spMkLst>
        </pc:spChg>
        <pc:picChg chg="add del mod">
          <ac:chgData name="Anjali Jaisinghani" userId="cad40627-4d93-4324-b144-18a7e046d981" providerId="ADAL" clId="{33619D88-3F50-494B-83B9-988F8B17CC2F}" dt="2023-03-15T11:35:41.005" v="448" actId="1076"/>
          <ac:picMkLst>
            <pc:docMk/>
            <pc:sldMk cId="237059039" sldId="292"/>
            <ac:picMk id="1026" creationId="{C6CF2C8F-D4AD-30B9-CD41-BE8DEDC4AA37}"/>
          </ac:picMkLst>
        </pc:picChg>
      </pc:sldChg>
      <pc:sldChg chg="modSp add del mod">
        <pc:chgData name="Anjali Jaisinghani" userId="cad40627-4d93-4324-b144-18a7e046d981" providerId="ADAL" clId="{33619D88-3F50-494B-83B9-988F8B17CC2F}" dt="2023-03-15T11:13:35.967" v="308" actId="47"/>
        <pc:sldMkLst>
          <pc:docMk/>
          <pc:sldMk cId="1022794715" sldId="295"/>
        </pc:sldMkLst>
        <pc:spChg chg="mod">
          <ac:chgData name="Anjali Jaisinghani" userId="cad40627-4d93-4324-b144-18a7e046d981" providerId="ADAL" clId="{33619D88-3F50-494B-83B9-988F8B17CC2F}" dt="2023-03-15T09:42:10.041" v="175" actId="20577"/>
          <ac:spMkLst>
            <pc:docMk/>
            <pc:sldMk cId="1022794715" sldId="295"/>
            <ac:spMk id="125" creationId="{9ECF205B-213C-4E0A-8A73-2FFFFF267C8F}"/>
          </ac:spMkLst>
        </pc:spChg>
      </pc:sldChg>
      <pc:sldChg chg="addSp delSp modSp mod">
        <pc:chgData name="Anjali Jaisinghani" userId="cad40627-4d93-4324-b144-18a7e046d981" providerId="ADAL" clId="{33619D88-3F50-494B-83B9-988F8B17CC2F}" dt="2023-03-15T11:17:35.632" v="361" actId="255"/>
        <pc:sldMkLst>
          <pc:docMk/>
          <pc:sldMk cId="350408983" sldId="297"/>
        </pc:sldMkLst>
        <pc:spChg chg="add del">
          <ac:chgData name="Anjali Jaisinghani" userId="cad40627-4d93-4324-b144-18a7e046d981" providerId="ADAL" clId="{33619D88-3F50-494B-83B9-988F8B17CC2F}" dt="2023-03-15T11:13:42.977" v="309" actId="478"/>
          <ac:spMkLst>
            <pc:docMk/>
            <pc:sldMk cId="350408983" sldId="297"/>
            <ac:spMk id="8" creationId="{79145669-39E8-4E9D-B5B5-9E2D8FDFAD75}"/>
          </ac:spMkLst>
        </pc:spChg>
        <pc:graphicFrameChg chg="add mod modGraphic">
          <ac:chgData name="Anjali Jaisinghani" userId="cad40627-4d93-4324-b144-18a7e046d981" providerId="ADAL" clId="{33619D88-3F50-494B-83B9-988F8B17CC2F}" dt="2023-03-15T11:17:35.632" v="361" actId="255"/>
          <ac:graphicFrameMkLst>
            <pc:docMk/>
            <pc:sldMk cId="350408983" sldId="297"/>
            <ac:graphicFrameMk id="2" creationId="{188C9446-4E8D-28C6-6073-B2CAD5E12EA8}"/>
          </ac:graphicFrameMkLst>
        </pc:graphicFrameChg>
      </pc:sldChg>
      <pc:sldChg chg="addSp delSp modSp mod">
        <pc:chgData name="Anjali Jaisinghani" userId="cad40627-4d93-4324-b144-18a7e046d981" providerId="ADAL" clId="{33619D88-3F50-494B-83B9-988F8B17CC2F}" dt="2023-03-15T11:13:34.329" v="306" actId="478"/>
        <pc:sldMkLst>
          <pc:docMk/>
          <pc:sldMk cId="3302342091" sldId="298"/>
        </pc:sldMkLst>
        <pc:spChg chg="mod">
          <ac:chgData name="Anjali Jaisinghani" userId="cad40627-4d93-4324-b144-18a7e046d981" providerId="ADAL" clId="{33619D88-3F50-494B-83B9-988F8B17CC2F}" dt="2023-03-15T11:13:15.733" v="299" actId="1076"/>
          <ac:spMkLst>
            <pc:docMk/>
            <pc:sldMk cId="3302342091" sldId="298"/>
            <ac:spMk id="6" creationId="{A0F127AD-9171-40C2-87D4-C40739DFA9AC}"/>
          </ac:spMkLst>
        </pc:spChg>
        <pc:spChg chg="add del">
          <ac:chgData name="Anjali Jaisinghani" userId="cad40627-4d93-4324-b144-18a7e046d981" providerId="ADAL" clId="{33619D88-3F50-494B-83B9-988F8B17CC2F}" dt="2023-03-15T11:13:34.329" v="306" actId="478"/>
          <ac:spMkLst>
            <pc:docMk/>
            <pc:sldMk cId="3302342091" sldId="298"/>
            <ac:spMk id="8" creationId="{79145669-39E8-4E9D-B5B5-9E2D8FDFAD75}"/>
          </ac:spMkLst>
        </pc:spChg>
        <pc:graphicFrameChg chg="add del mod modGraphic">
          <ac:chgData name="Anjali Jaisinghani" userId="cad40627-4d93-4324-b144-18a7e046d981" providerId="ADAL" clId="{33619D88-3F50-494B-83B9-988F8B17CC2F}" dt="2023-03-15T11:13:33.321" v="305"/>
          <ac:graphicFrameMkLst>
            <pc:docMk/>
            <pc:sldMk cId="3302342091" sldId="298"/>
            <ac:graphicFrameMk id="2" creationId="{4F6D838E-15BA-F115-2B35-789AB73EAFB3}"/>
          </ac:graphicFrameMkLst>
        </pc:graphicFrameChg>
      </pc:sldChg>
      <pc:sldChg chg="modSp del mod">
        <pc:chgData name="Anjali Jaisinghani" userId="cad40627-4d93-4324-b144-18a7e046d981" providerId="ADAL" clId="{33619D88-3F50-494B-83B9-988F8B17CC2F}" dt="2023-03-15T11:00:51.740" v="290" actId="47"/>
        <pc:sldMkLst>
          <pc:docMk/>
          <pc:sldMk cId="925394051" sldId="1448942221"/>
        </pc:sldMkLst>
        <pc:spChg chg="mod">
          <ac:chgData name="Anjali Jaisinghani" userId="cad40627-4d93-4324-b144-18a7e046d981" providerId="ADAL" clId="{33619D88-3F50-494B-83B9-988F8B17CC2F}" dt="2023-03-15T09:38:10.128" v="44" actId="20577"/>
          <ac:spMkLst>
            <pc:docMk/>
            <pc:sldMk cId="925394051" sldId="1448942221"/>
            <ac:spMk id="2" creationId="{6E305ED9-0E48-4312-AA60-323A31AE2475}"/>
          </ac:spMkLst>
        </pc:spChg>
      </pc:sldChg>
      <pc:sldChg chg="modSp del mod">
        <pc:chgData name="Anjali Jaisinghani" userId="cad40627-4d93-4324-b144-18a7e046d981" providerId="ADAL" clId="{33619D88-3F50-494B-83B9-988F8B17CC2F}" dt="2023-03-15T11:00:53.180" v="291" actId="47"/>
        <pc:sldMkLst>
          <pc:docMk/>
          <pc:sldMk cId="2129999166" sldId="1448942222"/>
        </pc:sldMkLst>
        <pc:spChg chg="mod">
          <ac:chgData name="Anjali Jaisinghani" userId="cad40627-4d93-4324-b144-18a7e046d981" providerId="ADAL" clId="{33619D88-3F50-494B-83B9-988F8B17CC2F}" dt="2023-03-15T09:38:17.012" v="49" actId="20577"/>
          <ac:spMkLst>
            <pc:docMk/>
            <pc:sldMk cId="2129999166" sldId="1448942222"/>
            <ac:spMk id="2" creationId="{6E305ED9-0E48-4312-AA60-323A31AE2475}"/>
          </ac:spMkLst>
        </pc:spChg>
      </pc:sldChg>
      <pc:sldChg chg="delSp modSp mod">
        <pc:chgData name="Anjali Jaisinghani" userId="cad40627-4d93-4324-b144-18a7e046d981" providerId="ADAL" clId="{33619D88-3F50-494B-83B9-988F8B17CC2F}" dt="2023-03-15T11:00:38.934" v="289" actId="20577"/>
        <pc:sldMkLst>
          <pc:docMk/>
          <pc:sldMk cId="644191892" sldId="1448942227"/>
        </pc:sldMkLst>
        <pc:spChg chg="mod">
          <ac:chgData name="Anjali Jaisinghani" userId="cad40627-4d93-4324-b144-18a7e046d981" providerId="ADAL" clId="{33619D88-3F50-494B-83B9-988F8B17CC2F}" dt="2023-03-15T10:58:28.670" v="248" actId="20577"/>
          <ac:spMkLst>
            <pc:docMk/>
            <pc:sldMk cId="644191892" sldId="1448942227"/>
            <ac:spMk id="2" creationId="{4BC3AEA4-C865-E549-8713-2D0A1F3D6252}"/>
          </ac:spMkLst>
        </pc:spChg>
        <pc:spChg chg="del">
          <ac:chgData name="Anjali Jaisinghani" userId="cad40627-4d93-4324-b144-18a7e046d981" providerId="ADAL" clId="{33619D88-3F50-494B-83B9-988F8B17CC2F}" dt="2023-03-15T10:58:11.600" v="211" actId="478"/>
          <ac:spMkLst>
            <pc:docMk/>
            <pc:sldMk cId="644191892" sldId="1448942227"/>
            <ac:spMk id="4" creationId="{D3221C2F-76C6-0AD9-A3B7-C9A4B25C1E86}"/>
          </ac:spMkLst>
        </pc:spChg>
        <pc:spChg chg="del mod">
          <ac:chgData name="Anjali Jaisinghani" userId="cad40627-4d93-4324-b144-18a7e046d981" providerId="ADAL" clId="{33619D88-3F50-494B-83B9-988F8B17CC2F}" dt="2023-03-15T10:58:08.778" v="210" actId="478"/>
          <ac:spMkLst>
            <pc:docMk/>
            <pc:sldMk cId="644191892" sldId="1448942227"/>
            <ac:spMk id="6" creationId="{E42DBD51-B434-4F62-AE0E-6F344E84170B}"/>
          </ac:spMkLst>
        </pc:spChg>
        <pc:graphicFrameChg chg="mod modGraphic">
          <ac:chgData name="Anjali Jaisinghani" userId="cad40627-4d93-4324-b144-18a7e046d981" providerId="ADAL" clId="{33619D88-3F50-494B-83B9-988F8B17CC2F}" dt="2023-03-15T11:00:38.934" v="289" actId="20577"/>
          <ac:graphicFrameMkLst>
            <pc:docMk/>
            <pc:sldMk cId="644191892" sldId="1448942227"/>
            <ac:graphicFrameMk id="18" creationId="{C4D1A77E-2FEB-C94D-B7E0-5B3B8F2A809C}"/>
          </ac:graphicFrameMkLst>
        </pc:graphicFrameChg>
        <pc:graphicFrameChg chg="modGraphic">
          <ac:chgData name="Anjali Jaisinghani" userId="cad40627-4d93-4324-b144-18a7e046d981" providerId="ADAL" clId="{33619D88-3F50-494B-83B9-988F8B17CC2F}" dt="2023-03-15T10:58:15.450" v="214" actId="20577"/>
          <ac:graphicFrameMkLst>
            <pc:docMk/>
            <pc:sldMk cId="644191892" sldId="1448942227"/>
            <ac:graphicFrameMk id="19" creationId="{4E999FE9-BDAD-5E44-AF03-3B09A5C793AC}"/>
          </ac:graphicFrameMkLst>
        </pc:graphicFrameChg>
      </pc:sldChg>
      <pc:sldChg chg="modSp mod">
        <pc:chgData name="Anjali Jaisinghani" userId="cad40627-4d93-4324-b144-18a7e046d981" providerId="ADAL" clId="{33619D88-3F50-494B-83B9-988F8B17CC2F}" dt="2023-03-15T11:18:20.221" v="363" actId="20577"/>
        <pc:sldMkLst>
          <pc:docMk/>
          <pc:sldMk cId="2825616200" sldId="1448942228"/>
        </pc:sldMkLst>
        <pc:graphicFrameChg chg="mod modGraphic">
          <ac:chgData name="Anjali Jaisinghani" userId="cad40627-4d93-4324-b144-18a7e046d981" providerId="ADAL" clId="{33619D88-3F50-494B-83B9-988F8B17CC2F}" dt="2023-03-15T11:18:20.221" v="363" actId="20577"/>
          <ac:graphicFrameMkLst>
            <pc:docMk/>
            <pc:sldMk cId="2825616200" sldId="1448942228"/>
            <ac:graphicFrameMk id="3" creationId="{00000000-0000-0000-0000-000000000000}"/>
          </ac:graphicFrameMkLst>
        </pc:graphicFrameChg>
      </pc:sldChg>
      <pc:sldChg chg="addSp delSp modSp mod">
        <pc:chgData name="Anjali Jaisinghani" userId="cad40627-4d93-4324-b144-18a7e046d981" providerId="ADAL" clId="{33619D88-3F50-494B-83B9-988F8B17CC2F}" dt="2023-03-15T04:14:14.680" v="12" actId="27614"/>
        <pc:sldMkLst>
          <pc:docMk/>
          <pc:sldMk cId="599655922" sldId="1448942229"/>
        </pc:sldMkLst>
        <pc:spChg chg="del">
          <ac:chgData name="Anjali Jaisinghani" userId="cad40627-4d93-4324-b144-18a7e046d981" providerId="ADAL" clId="{33619D88-3F50-494B-83B9-988F8B17CC2F}" dt="2023-03-15T04:14:12.698" v="11" actId="931"/>
          <ac:spMkLst>
            <pc:docMk/>
            <pc:sldMk cId="599655922" sldId="1448942229"/>
            <ac:spMk id="4" creationId="{2CB04F51-920A-4BF3-8698-2DB7F579F486}"/>
          </ac:spMkLst>
        </pc:spChg>
        <pc:picChg chg="add mod">
          <ac:chgData name="Anjali Jaisinghani" userId="cad40627-4d93-4324-b144-18a7e046d981" providerId="ADAL" clId="{33619D88-3F50-494B-83B9-988F8B17CC2F}" dt="2023-03-15T04:14:14.680" v="12" actId="27614"/>
          <ac:picMkLst>
            <pc:docMk/>
            <pc:sldMk cId="599655922" sldId="1448942229"/>
            <ac:picMk id="8" creationId="{067DAE8D-6210-7EFA-4794-D77406A3F858}"/>
          </ac:picMkLst>
        </pc:picChg>
      </pc:sldChg>
      <pc:sldChg chg="addSp delSp modSp add mod ord modShow">
        <pc:chgData name="Anjali Jaisinghani" userId="cad40627-4d93-4324-b144-18a7e046d981" providerId="ADAL" clId="{33619D88-3F50-494B-83B9-988F8B17CC2F}" dt="2023-03-17T06:31:33.658" v="528" actId="729"/>
        <pc:sldMkLst>
          <pc:docMk/>
          <pc:sldMk cId="3838955510" sldId="1448942230"/>
        </pc:sldMkLst>
        <pc:spChg chg="mod">
          <ac:chgData name="Anjali Jaisinghani" userId="cad40627-4d93-4324-b144-18a7e046d981" providerId="ADAL" clId="{33619D88-3F50-494B-83B9-988F8B17CC2F}" dt="2023-03-15T11:21:06.968" v="398" actId="20577"/>
          <ac:spMkLst>
            <pc:docMk/>
            <pc:sldMk cId="3838955510" sldId="1448942230"/>
            <ac:spMk id="3" creationId="{BEED6AB6-42E1-4286-B3E1-A19472D324C1}"/>
          </ac:spMkLst>
        </pc:spChg>
        <pc:spChg chg="add del mod">
          <ac:chgData name="Anjali Jaisinghani" userId="cad40627-4d93-4324-b144-18a7e046d981" providerId="ADAL" clId="{33619D88-3F50-494B-83B9-988F8B17CC2F}" dt="2023-03-15T11:21:24.411" v="405" actId="478"/>
          <ac:spMkLst>
            <pc:docMk/>
            <pc:sldMk cId="3838955510" sldId="1448942230"/>
            <ac:spMk id="7" creationId="{2F872175-04B5-78E6-92BA-1A349D787ACA}"/>
          </ac:spMkLst>
        </pc:spChg>
        <pc:picChg chg="del mod">
          <ac:chgData name="Anjali Jaisinghani" userId="cad40627-4d93-4324-b144-18a7e046d981" providerId="ADAL" clId="{33619D88-3F50-494B-83B9-988F8B17CC2F}" dt="2023-03-15T11:21:21.801" v="404" actId="478"/>
          <ac:picMkLst>
            <pc:docMk/>
            <pc:sldMk cId="3838955510" sldId="1448942230"/>
            <ac:picMk id="8" creationId="{A7CD7CA8-BAE6-3D46-CAE5-B60B682B563E}"/>
          </ac:picMkLst>
        </pc:picChg>
        <pc:picChg chg="add mod">
          <ac:chgData name="Anjali Jaisinghani" userId="cad40627-4d93-4324-b144-18a7e046d981" providerId="ADAL" clId="{33619D88-3F50-494B-83B9-988F8B17CC2F}" dt="2023-03-16T07:11:43.054" v="470" actId="1076"/>
          <ac:picMkLst>
            <pc:docMk/>
            <pc:sldMk cId="3838955510" sldId="1448942230"/>
            <ac:picMk id="4098" creationId="{D9614707-6EEB-8A5D-7A84-EFC7DD3B9E82}"/>
          </ac:picMkLst>
        </pc:picChg>
      </pc:sldChg>
      <pc:sldChg chg="addSp delSp modSp add mod modShow">
        <pc:chgData name="Anjali Jaisinghani" userId="cad40627-4d93-4324-b144-18a7e046d981" providerId="ADAL" clId="{33619D88-3F50-494B-83B9-988F8B17CC2F}" dt="2023-03-20T11:32:51.230" v="9084" actId="1076"/>
        <pc:sldMkLst>
          <pc:docMk/>
          <pc:sldMk cId="612250815" sldId="1448942231"/>
        </pc:sldMkLst>
        <pc:spChg chg="mod">
          <ac:chgData name="Anjali Jaisinghani" userId="cad40627-4d93-4324-b144-18a7e046d981" providerId="ADAL" clId="{33619D88-3F50-494B-83B9-988F8B17CC2F}" dt="2023-03-17T06:19:50.683" v="473" actId="1076"/>
          <ac:spMkLst>
            <pc:docMk/>
            <pc:sldMk cId="612250815" sldId="1448942231"/>
            <ac:spMk id="3" creationId="{BEED6AB6-42E1-4286-B3E1-A19472D324C1}"/>
          </ac:spMkLst>
        </pc:spChg>
        <pc:spChg chg="add mod">
          <ac:chgData name="Anjali Jaisinghani" userId="cad40627-4d93-4324-b144-18a7e046d981" providerId="ADAL" clId="{33619D88-3F50-494B-83B9-988F8B17CC2F}" dt="2023-03-16T04:55:48.849" v="459" actId="478"/>
          <ac:spMkLst>
            <pc:docMk/>
            <pc:sldMk cId="612250815" sldId="1448942231"/>
            <ac:spMk id="7" creationId="{0EBF0F51-B6DE-404A-E7CD-D4F35D47A0F5}"/>
          </ac:spMkLst>
        </pc:spChg>
        <pc:picChg chg="del">
          <ac:chgData name="Anjali Jaisinghani" userId="cad40627-4d93-4324-b144-18a7e046d981" providerId="ADAL" clId="{33619D88-3F50-494B-83B9-988F8B17CC2F}" dt="2023-03-16T04:55:48.849" v="459" actId="478"/>
          <ac:picMkLst>
            <pc:docMk/>
            <pc:sldMk cId="612250815" sldId="1448942231"/>
            <ac:picMk id="8" creationId="{A7CD7CA8-BAE6-3D46-CAE5-B60B682B563E}"/>
          </ac:picMkLst>
        </pc:picChg>
        <pc:picChg chg="mod">
          <ac:chgData name="Anjali Jaisinghani" userId="cad40627-4d93-4324-b144-18a7e046d981" providerId="ADAL" clId="{33619D88-3F50-494B-83B9-988F8B17CC2F}" dt="2023-03-20T11:32:51.230" v="9084" actId="1076"/>
          <ac:picMkLst>
            <pc:docMk/>
            <pc:sldMk cId="612250815" sldId="1448942231"/>
            <ac:picMk id="5122" creationId="{F164014A-BFBD-88D8-8C7C-6A3C4A39FF6E}"/>
          </ac:picMkLst>
        </pc:picChg>
      </pc:sldChg>
      <pc:sldChg chg="add del">
        <pc:chgData name="Anjali Jaisinghani" userId="cad40627-4d93-4324-b144-18a7e046d981" providerId="ADAL" clId="{33619D88-3F50-494B-83B9-988F8B17CC2F}" dt="2023-03-15T11:21:10.213" v="400"/>
        <pc:sldMkLst>
          <pc:docMk/>
          <pc:sldMk cId="1656963580" sldId="1448942231"/>
        </pc:sldMkLst>
      </pc:sldChg>
      <pc:sldChg chg="addSp delSp modSp add mod modNotesTx">
        <pc:chgData name="Anjali Jaisinghani" userId="cad40627-4d93-4324-b144-18a7e046d981" providerId="ADAL" clId="{33619D88-3F50-494B-83B9-988F8B17CC2F}" dt="2023-03-21T05:11:10.688" v="9244" actId="20577"/>
        <pc:sldMkLst>
          <pc:docMk/>
          <pc:sldMk cId="2294442288" sldId="2147469704"/>
        </pc:sldMkLst>
        <pc:spChg chg="add mod">
          <ac:chgData name="Anjali Jaisinghani" userId="cad40627-4d93-4324-b144-18a7e046d981" providerId="ADAL" clId="{33619D88-3F50-494B-83B9-988F8B17CC2F}" dt="2023-03-20T07:49:33.451" v="6955" actId="14100"/>
          <ac:spMkLst>
            <pc:docMk/>
            <pc:sldMk cId="2294442288" sldId="2147469704"/>
            <ac:spMk id="7" creationId="{2EA360BB-DCC6-AF67-F10B-BDF0D0934EA1}"/>
          </ac:spMkLst>
        </pc:spChg>
        <pc:spChg chg="mod">
          <ac:chgData name="Anjali Jaisinghani" userId="cad40627-4d93-4324-b144-18a7e046d981" providerId="ADAL" clId="{33619D88-3F50-494B-83B9-988F8B17CC2F}" dt="2023-03-17T06:24:41.726" v="490" actId="1076"/>
          <ac:spMkLst>
            <pc:docMk/>
            <pc:sldMk cId="2294442288" sldId="2147469704"/>
            <ac:spMk id="12" creationId="{9AFCDC00-4F12-AC8C-14B0-E1402D0995B8}"/>
          </ac:spMkLst>
        </pc:spChg>
        <pc:spChg chg="add mod">
          <ac:chgData name="Anjali Jaisinghani" userId="cad40627-4d93-4324-b144-18a7e046d981" providerId="ADAL" clId="{33619D88-3F50-494B-83B9-988F8B17CC2F}" dt="2023-03-20T07:27:35.996" v="6729" actId="14100"/>
          <ac:spMkLst>
            <pc:docMk/>
            <pc:sldMk cId="2294442288" sldId="2147469704"/>
            <ac:spMk id="15" creationId="{AF718246-C90B-A850-95B2-F867FE914AD4}"/>
          </ac:spMkLst>
        </pc:spChg>
        <pc:spChg chg="add del mod">
          <ac:chgData name="Anjali Jaisinghani" userId="cad40627-4d93-4324-b144-18a7e046d981" providerId="ADAL" clId="{33619D88-3F50-494B-83B9-988F8B17CC2F}" dt="2023-03-20T07:24:18.745" v="6664"/>
          <ac:spMkLst>
            <pc:docMk/>
            <pc:sldMk cId="2294442288" sldId="2147469704"/>
            <ac:spMk id="16" creationId="{D906C42E-316A-3632-59AF-6F33D99C3EE4}"/>
          </ac:spMkLst>
        </pc:spChg>
        <pc:spChg chg="mod">
          <ac:chgData name="Anjali Jaisinghani" userId="cad40627-4d93-4324-b144-18a7e046d981" providerId="ADAL" clId="{33619D88-3F50-494B-83B9-988F8B17CC2F}" dt="2023-03-17T06:28:08.886" v="513" actId="14100"/>
          <ac:spMkLst>
            <pc:docMk/>
            <pc:sldMk cId="2294442288" sldId="2147469704"/>
            <ac:spMk id="17" creationId="{227124D9-6EAC-8534-D725-E0E26C894AB2}"/>
          </ac:spMkLst>
        </pc:spChg>
        <pc:spChg chg="add mod ord">
          <ac:chgData name="Anjali Jaisinghani" userId="cad40627-4d93-4324-b144-18a7e046d981" providerId="ADAL" clId="{33619D88-3F50-494B-83B9-988F8B17CC2F}" dt="2023-03-20T10:52:41.065" v="8713" actId="20577"/>
          <ac:spMkLst>
            <pc:docMk/>
            <pc:sldMk cId="2294442288" sldId="2147469704"/>
            <ac:spMk id="20" creationId="{154B7351-979C-DB60-9E78-74F8BC500576}"/>
          </ac:spMkLst>
        </pc:spChg>
        <pc:spChg chg="add del mod">
          <ac:chgData name="Anjali Jaisinghani" userId="cad40627-4d93-4324-b144-18a7e046d981" providerId="ADAL" clId="{33619D88-3F50-494B-83B9-988F8B17CC2F}" dt="2023-03-20T07:26:39.518" v="6721" actId="478"/>
          <ac:spMkLst>
            <pc:docMk/>
            <pc:sldMk cId="2294442288" sldId="2147469704"/>
            <ac:spMk id="22" creationId="{E990316B-5134-E3C2-7E11-CAC75C6196B2}"/>
          </ac:spMkLst>
        </pc:spChg>
        <pc:spChg chg="add mod">
          <ac:chgData name="Anjali Jaisinghani" userId="cad40627-4d93-4324-b144-18a7e046d981" providerId="ADAL" clId="{33619D88-3F50-494B-83B9-988F8B17CC2F}" dt="2023-03-20T07:27:27.286" v="6728" actId="14100"/>
          <ac:spMkLst>
            <pc:docMk/>
            <pc:sldMk cId="2294442288" sldId="2147469704"/>
            <ac:spMk id="24" creationId="{2AACAA75-23B1-06D6-2845-03AAAD034C5F}"/>
          </ac:spMkLst>
        </pc:spChg>
        <pc:spChg chg="add mod">
          <ac:chgData name="Anjali Jaisinghani" userId="cad40627-4d93-4324-b144-18a7e046d981" providerId="ADAL" clId="{33619D88-3F50-494B-83B9-988F8B17CC2F}" dt="2023-03-20T10:53:08.895" v="8740" actId="20577"/>
          <ac:spMkLst>
            <pc:docMk/>
            <pc:sldMk cId="2294442288" sldId="2147469704"/>
            <ac:spMk id="30" creationId="{18613042-4390-6824-CDC1-F4D7E3BB68DA}"/>
          </ac:spMkLst>
        </pc:spChg>
        <pc:spChg chg="add mod">
          <ac:chgData name="Anjali Jaisinghani" userId="cad40627-4d93-4324-b144-18a7e046d981" providerId="ADAL" clId="{33619D88-3F50-494B-83B9-988F8B17CC2F}" dt="2023-03-20T07:31:07.567" v="6861" actId="1076"/>
          <ac:spMkLst>
            <pc:docMk/>
            <pc:sldMk cId="2294442288" sldId="2147469704"/>
            <ac:spMk id="31" creationId="{3695964D-CA98-18E0-341A-57F0A0A28667}"/>
          </ac:spMkLst>
        </pc:spChg>
        <pc:spChg chg="mod">
          <ac:chgData name="Anjali Jaisinghani" userId="cad40627-4d93-4324-b144-18a7e046d981" providerId="ADAL" clId="{33619D88-3F50-494B-83B9-988F8B17CC2F}" dt="2023-03-21T04:46:44.360" v="9221" actId="1076"/>
          <ac:spMkLst>
            <pc:docMk/>
            <pc:sldMk cId="2294442288" sldId="2147469704"/>
            <ac:spMk id="37" creationId="{A3BF0D28-4C16-B508-AD5B-0DF0267F36FF}"/>
          </ac:spMkLst>
        </pc:spChg>
        <pc:spChg chg="add mod">
          <ac:chgData name="Anjali Jaisinghani" userId="cad40627-4d93-4324-b144-18a7e046d981" providerId="ADAL" clId="{33619D88-3F50-494B-83B9-988F8B17CC2F}" dt="2023-03-20T08:08:59.063" v="7256" actId="14100"/>
          <ac:spMkLst>
            <pc:docMk/>
            <pc:sldMk cId="2294442288" sldId="2147469704"/>
            <ac:spMk id="42" creationId="{14D4C508-7A93-AFCB-1D99-4213A86B9CDD}"/>
          </ac:spMkLst>
        </pc:spChg>
        <pc:spChg chg="mod">
          <ac:chgData name="Anjali Jaisinghani" userId="cad40627-4d93-4324-b144-18a7e046d981" providerId="ADAL" clId="{33619D88-3F50-494B-83B9-988F8B17CC2F}" dt="2023-03-17T06:24:41.726" v="490" actId="1076"/>
          <ac:spMkLst>
            <pc:docMk/>
            <pc:sldMk cId="2294442288" sldId="2147469704"/>
            <ac:spMk id="54" creationId="{AA83CC61-F3EC-AF33-D1DD-7C5C24D64C06}"/>
          </ac:spMkLst>
        </pc:spChg>
        <pc:spChg chg="add mod">
          <ac:chgData name="Anjali Jaisinghani" userId="cad40627-4d93-4324-b144-18a7e046d981" providerId="ADAL" clId="{33619D88-3F50-494B-83B9-988F8B17CC2F}" dt="2023-03-20T10:52:45.609" v="8717"/>
          <ac:spMkLst>
            <pc:docMk/>
            <pc:sldMk cId="2294442288" sldId="2147469704"/>
            <ac:spMk id="67" creationId="{F135F3AF-F371-8A00-7719-B34056060042}"/>
          </ac:spMkLst>
        </pc:spChg>
        <pc:spChg chg="mod">
          <ac:chgData name="Anjali Jaisinghani" userId="cad40627-4d93-4324-b144-18a7e046d981" providerId="ADAL" clId="{33619D88-3F50-494B-83B9-988F8B17CC2F}" dt="2023-03-21T04:40:43.094" v="9169" actId="1076"/>
          <ac:spMkLst>
            <pc:docMk/>
            <pc:sldMk cId="2294442288" sldId="2147469704"/>
            <ac:spMk id="71" creationId="{1DDF5FA3-042D-1C0D-218E-B89849FD6903}"/>
          </ac:spMkLst>
        </pc:spChg>
        <pc:spChg chg="mod">
          <ac:chgData name="Anjali Jaisinghani" userId="cad40627-4d93-4324-b144-18a7e046d981" providerId="ADAL" clId="{33619D88-3F50-494B-83B9-988F8B17CC2F}" dt="2023-03-21T04:41:06.231" v="9173" actId="14100"/>
          <ac:spMkLst>
            <pc:docMk/>
            <pc:sldMk cId="2294442288" sldId="2147469704"/>
            <ac:spMk id="79" creationId="{234E6D4B-907C-53CD-5F2E-657B34FA1311}"/>
          </ac:spMkLst>
        </pc:spChg>
        <pc:spChg chg="mod">
          <ac:chgData name="Anjali Jaisinghani" userId="cad40627-4d93-4324-b144-18a7e046d981" providerId="ADAL" clId="{33619D88-3F50-494B-83B9-988F8B17CC2F}" dt="2023-03-21T04:48:51.309" v="9239" actId="1076"/>
          <ac:spMkLst>
            <pc:docMk/>
            <pc:sldMk cId="2294442288" sldId="2147469704"/>
            <ac:spMk id="80" creationId="{4B7FC726-B148-7335-5803-747A208D8AC8}"/>
          </ac:spMkLst>
        </pc:spChg>
        <pc:spChg chg="mod">
          <ac:chgData name="Anjali Jaisinghani" userId="cad40627-4d93-4324-b144-18a7e046d981" providerId="ADAL" clId="{33619D88-3F50-494B-83B9-988F8B17CC2F}" dt="2023-03-17T09:16:39.471" v="2306" actId="208"/>
          <ac:spMkLst>
            <pc:docMk/>
            <pc:sldMk cId="2294442288" sldId="2147469704"/>
            <ac:spMk id="81" creationId="{59592E65-2B75-16DA-9CEB-FCB9E5E751DC}"/>
          </ac:spMkLst>
        </pc:spChg>
        <pc:spChg chg="mod">
          <ac:chgData name="Anjali Jaisinghani" userId="cad40627-4d93-4324-b144-18a7e046d981" providerId="ADAL" clId="{33619D88-3F50-494B-83B9-988F8B17CC2F}" dt="2023-03-17T06:25:38.654" v="495" actId="1582"/>
          <ac:spMkLst>
            <pc:docMk/>
            <pc:sldMk cId="2294442288" sldId="2147469704"/>
            <ac:spMk id="85" creationId="{41C6EBAA-1A33-9C1E-EA1B-4F3D9F69FA9F}"/>
          </ac:spMkLst>
        </pc:spChg>
        <pc:spChg chg="mod">
          <ac:chgData name="Anjali Jaisinghani" userId="cad40627-4d93-4324-b144-18a7e046d981" providerId="ADAL" clId="{33619D88-3F50-494B-83B9-988F8B17CC2F}" dt="2023-03-17T06:24:41.726" v="490" actId="1076"/>
          <ac:spMkLst>
            <pc:docMk/>
            <pc:sldMk cId="2294442288" sldId="2147469704"/>
            <ac:spMk id="86" creationId="{A62BBDA6-F685-B2F4-FFF2-80348A835AD8}"/>
          </ac:spMkLst>
        </pc:spChg>
        <pc:spChg chg="mod">
          <ac:chgData name="Anjali Jaisinghani" userId="cad40627-4d93-4324-b144-18a7e046d981" providerId="ADAL" clId="{33619D88-3F50-494B-83B9-988F8B17CC2F}" dt="2023-03-21T04:49:21.494" v="9243" actId="1076"/>
          <ac:spMkLst>
            <pc:docMk/>
            <pc:sldMk cId="2294442288" sldId="2147469704"/>
            <ac:spMk id="87" creationId="{886D7574-7857-5F65-E824-101D52F1FEF3}"/>
          </ac:spMkLst>
        </pc:spChg>
        <pc:spChg chg="mod">
          <ac:chgData name="Anjali Jaisinghani" userId="cad40627-4d93-4324-b144-18a7e046d981" providerId="ADAL" clId="{33619D88-3F50-494B-83B9-988F8B17CC2F}" dt="2023-03-17T06:25:55.668" v="496" actId="1582"/>
          <ac:spMkLst>
            <pc:docMk/>
            <pc:sldMk cId="2294442288" sldId="2147469704"/>
            <ac:spMk id="88" creationId="{010B91BC-F08A-D316-9DC6-D04207817A18}"/>
          </ac:spMkLst>
        </pc:spChg>
        <pc:spChg chg="mod">
          <ac:chgData name="Anjali Jaisinghani" userId="cad40627-4d93-4324-b144-18a7e046d981" providerId="ADAL" clId="{33619D88-3F50-494B-83B9-988F8B17CC2F}" dt="2023-03-17T06:26:51.192" v="503" actId="2085"/>
          <ac:spMkLst>
            <pc:docMk/>
            <pc:sldMk cId="2294442288" sldId="2147469704"/>
            <ac:spMk id="91" creationId="{715AE00F-CCD5-CEBA-A64A-545221372825}"/>
          </ac:spMkLst>
        </pc:spChg>
        <pc:spChg chg="mod">
          <ac:chgData name="Anjali Jaisinghani" userId="cad40627-4d93-4324-b144-18a7e046d981" providerId="ADAL" clId="{33619D88-3F50-494B-83B9-988F8B17CC2F}" dt="2023-03-17T06:25:55.668" v="496" actId="1582"/>
          <ac:spMkLst>
            <pc:docMk/>
            <pc:sldMk cId="2294442288" sldId="2147469704"/>
            <ac:spMk id="94" creationId="{278FBEBE-5FBB-5F3B-CDFE-02C337AE207F}"/>
          </ac:spMkLst>
        </pc:spChg>
        <pc:spChg chg="mod">
          <ac:chgData name="Anjali Jaisinghani" userId="cad40627-4d93-4324-b144-18a7e046d981" providerId="ADAL" clId="{33619D88-3F50-494B-83B9-988F8B17CC2F}" dt="2023-03-17T06:24:41.726" v="490" actId="1076"/>
          <ac:spMkLst>
            <pc:docMk/>
            <pc:sldMk cId="2294442288" sldId="2147469704"/>
            <ac:spMk id="95" creationId="{37ED1A84-E53C-C0B9-FEA0-F4D1684E61DF}"/>
          </ac:spMkLst>
        </pc:spChg>
        <pc:spChg chg="mod">
          <ac:chgData name="Anjali Jaisinghani" userId="cad40627-4d93-4324-b144-18a7e046d981" providerId="ADAL" clId="{33619D88-3F50-494B-83B9-988F8B17CC2F}" dt="2023-03-17T06:24:41.726" v="490" actId="1076"/>
          <ac:spMkLst>
            <pc:docMk/>
            <pc:sldMk cId="2294442288" sldId="2147469704"/>
            <ac:spMk id="98" creationId="{AA7FC1C6-C738-66A5-5486-99D9064DDEFC}"/>
          </ac:spMkLst>
        </pc:spChg>
        <pc:spChg chg="mod">
          <ac:chgData name="Anjali Jaisinghani" userId="cad40627-4d93-4324-b144-18a7e046d981" providerId="ADAL" clId="{33619D88-3F50-494B-83B9-988F8B17CC2F}" dt="2023-03-17T06:26:45.776" v="502" actId="2085"/>
          <ac:spMkLst>
            <pc:docMk/>
            <pc:sldMk cId="2294442288" sldId="2147469704"/>
            <ac:spMk id="103" creationId="{F69D1492-AD43-2457-1AC7-91DD4FA22D04}"/>
          </ac:spMkLst>
        </pc:spChg>
        <pc:spChg chg="mod">
          <ac:chgData name="Anjali Jaisinghani" userId="cad40627-4d93-4324-b144-18a7e046d981" providerId="ADAL" clId="{33619D88-3F50-494B-83B9-988F8B17CC2F}" dt="2023-03-17T06:25:55.668" v="496" actId="1582"/>
          <ac:spMkLst>
            <pc:docMk/>
            <pc:sldMk cId="2294442288" sldId="2147469704"/>
            <ac:spMk id="106" creationId="{B226F789-9CC6-AFA8-F11B-51371A85327A}"/>
          </ac:spMkLst>
        </pc:spChg>
        <pc:spChg chg="mod">
          <ac:chgData name="Anjali Jaisinghani" userId="cad40627-4d93-4324-b144-18a7e046d981" providerId="ADAL" clId="{33619D88-3F50-494B-83B9-988F8B17CC2F}" dt="2023-03-17T06:28:03.359" v="512" actId="1076"/>
          <ac:spMkLst>
            <pc:docMk/>
            <pc:sldMk cId="2294442288" sldId="2147469704"/>
            <ac:spMk id="119" creationId="{47CEB71C-BB9B-D9E0-8440-5D38775426FD}"/>
          </ac:spMkLst>
        </pc:spChg>
        <pc:spChg chg="add mod">
          <ac:chgData name="Anjali Jaisinghani" userId="cad40627-4d93-4324-b144-18a7e046d981" providerId="ADAL" clId="{33619D88-3F50-494B-83B9-988F8B17CC2F}" dt="2023-03-20T07:59:17.431" v="7088" actId="20577"/>
          <ac:spMkLst>
            <pc:docMk/>
            <pc:sldMk cId="2294442288" sldId="2147469704"/>
            <ac:spMk id="120" creationId="{C18DB95D-1CAA-9EFC-9D1F-591B3D53B1DB}"/>
          </ac:spMkLst>
        </pc:spChg>
        <pc:spChg chg="mod">
          <ac:chgData name="Anjali Jaisinghani" userId="cad40627-4d93-4324-b144-18a7e046d981" providerId="ADAL" clId="{33619D88-3F50-494B-83B9-988F8B17CC2F}" dt="2023-03-21T04:40:38.189" v="9168" actId="14100"/>
          <ac:spMkLst>
            <pc:docMk/>
            <pc:sldMk cId="2294442288" sldId="2147469704"/>
            <ac:spMk id="121" creationId="{59E94B81-5CAB-4C57-8647-2494EA1CBC01}"/>
          </ac:spMkLst>
        </pc:spChg>
        <pc:spChg chg="mod">
          <ac:chgData name="Anjali Jaisinghani" userId="cad40627-4d93-4324-b144-18a7e046d981" providerId="ADAL" clId="{33619D88-3F50-494B-83B9-988F8B17CC2F}" dt="2023-03-17T06:27:55.819" v="510" actId="1076"/>
          <ac:spMkLst>
            <pc:docMk/>
            <pc:sldMk cId="2294442288" sldId="2147469704"/>
            <ac:spMk id="124" creationId="{3795A50A-53AC-8CB4-D300-BE57D295892E}"/>
          </ac:spMkLst>
        </pc:spChg>
        <pc:spChg chg="mod">
          <ac:chgData name="Anjali Jaisinghani" userId="cad40627-4d93-4324-b144-18a7e046d981" providerId="ADAL" clId="{33619D88-3F50-494B-83B9-988F8B17CC2F}" dt="2023-03-17T06:24:41.726" v="490" actId="1076"/>
          <ac:spMkLst>
            <pc:docMk/>
            <pc:sldMk cId="2294442288" sldId="2147469704"/>
            <ac:spMk id="125" creationId="{2FCECE1C-B6E9-DEE1-FC2E-CA5D764AF02B}"/>
          </ac:spMkLst>
        </pc:spChg>
        <pc:spChg chg="mod">
          <ac:chgData name="Anjali Jaisinghani" userId="cad40627-4d93-4324-b144-18a7e046d981" providerId="ADAL" clId="{33619D88-3F50-494B-83B9-988F8B17CC2F}" dt="2023-03-17T06:30:58.513" v="524" actId="2085"/>
          <ac:spMkLst>
            <pc:docMk/>
            <pc:sldMk cId="2294442288" sldId="2147469704"/>
            <ac:spMk id="130" creationId="{8A0A460F-66B5-222B-6AEE-B81D772346C4}"/>
          </ac:spMkLst>
        </pc:spChg>
        <pc:spChg chg="mod">
          <ac:chgData name="Anjali Jaisinghani" userId="cad40627-4d93-4324-b144-18a7e046d981" providerId="ADAL" clId="{33619D88-3F50-494B-83B9-988F8B17CC2F}" dt="2023-03-17T06:30:50.335" v="523" actId="1582"/>
          <ac:spMkLst>
            <pc:docMk/>
            <pc:sldMk cId="2294442288" sldId="2147469704"/>
            <ac:spMk id="131" creationId="{44CED035-8D6F-C216-EC68-06BB6B7CD208}"/>
          </ac:spMkLst>
        </pc:spChg>
        <pc:spChg chg="add mod">
          <ac:chgData name="Anjali Jaisinghani" userId="cad40627-4d93-4324-b144-18a7e046d981" providerId="ADAL" clId="{33619D88-3F50-494B-83B9-988F8B17CC2F}" dt="2023-03-20T08:11:21.119" v="7368" actId="20577"/>
          <ac:spMkLst>
            <pc:docMk/>
            <pc:sldMk cId="2294442288" sldId="2147469704"/>
            <ac:spMk id="132" creationId="{35479CFC-4682-1187-8B2A-DE73FD02C1EB}"/>
          </ac:spMkLst>
        </pc:spChg>
        <pc:spChg chg="mod">
          <ac:chgData name="Anjali Jaisinghani" userId="cad40627-4d93-4324-b144-18a7e046d981" providerId="ADAL" clId="{33619D88-3F50-494B-83B9-988F8B17CC2F}" dt="2023-03-17T06:26:09.468" v="497" actId="1582"/>
          <ac:spMkLst>
            <pc:docMk/>
            <pc:sldMk cId="2294442288" sldId="2147469704"/>
            <ac:spMk id="139" creationId="{BC834607-F79E-E3DA-410D-D0A737BD09D4}"/>
          </ac:spMkLst>
        </pc:spChg>
        <pc:spChg chg="mod">
          <ac:chgData name="Anjali Jaisinghani" userId="cad40627-4d93-4324-b144-18a7e046d981" providerId="ADAL" clId="{33619D88-3F50-494B-83B9-988F8B17CC2F}" dt="2023-03-17T06:24:41.726" v="490" actId="1076"/>
          <ac:spMkLst>
            <pc:docMk/>
            <pc:sldMk cId="2294442288" sldId="2147469704"/>
            <ac:spMk id="140" creationId="{08A7F827-9FC4-349B-E400-01D35CE01CB1}"/>
          </ac:spMkLst>
        </pc:spChg>
        <pc:spChg chg="mod">
          <ac:chgData name="Anjali Jaisinghani" userId="cad40627-4d93-4324-b144-18a7e046d981" providerId="ADAL" clId="{33619D88-3F50-494B-83B9-988F8B17CC2F}" dt="2023-03-21T04:37:28.056" v="9158" actId="14100"/>
          <ac:spMkLst>
            <pc:docMk/>
            <pc:sldMk cId="2294442288" sldId="2147469704"/>
            <ac:spMk id="143" creationId="{BBBBD522-C844-D13B-E995-027E38342059}"/>
          </ac:spMkLst>
        </pc:spChg>
        <pc:spChg chg="mod">
          <ac:chgData name="Anjali Jaisinghani" userId="cad40627-4d93-4324-b144-18a7e046d981" providerId="ADAL" clId="{33619D88-3F50-494B-83B9-988F8B17CC2F}" dt="2023-03-17T06:30:37.506" v="522" actId="1582"/>
          <ac:spMkLst>
            <pc:docMk/>
            <pc:sldMk cId="2294442288" sldId="2147469704"/>
            <ac:spMk id="149" creationId="{12CC0946-8095-345D-53D1-89E73D8609F5}"/>
          </ac:spMkLst>
        </pc:spChg>
        <pc:spChg chg="mod">
          <ac:chgData name="Anjali Jaisinghani" userId="cad40627-4d93-4324-b144-18a7e046d981" providerId="ADAL" clId="{33619D88-3F50-494B-83B9-988F8B17CC2F}" dt="2023-03-17T06:30:26.513" v="521" actId="2085"/>
          <ac:spMkLst>
            <pc:docMk/>
            <pc:sldMk cId="2294442288" sldId="2147469704"/>
            <ac:spMk id="150" creationId="{F1DC8D6B-9B5A-793B-3A1C-CB9690DC550D}"/>
          </ac:spMkLst>
        </pc:spChg>
        <pc:spChg chg="add mod">
          <ac:chgData name="Anjali Jaisinghani" userId="cad40627-4d93-4324-b144-18a7e046d981" providerId="ADAL" clId="{33619D88-3F50-494B-83B9-988F8B17CC2F}" dt="2023-03-21T04:46:59.436" v="9224" actId="164"/>
          <ac:spMkLst>
            <pc:docMk/>
            <pc:sldMk cId="2294442288" sldId="2147469704"/>
            <ac:spMk id="159" creationId="{E31AD877-D2B9-6AF1-59CB-E69EE7A4A16B}"/>
          </ac:spMkLst>
        </pc:spChg>
        <pc:spChg chg="mod">
          <ac:chgData name="Anjali Jaisinghani" userId="cad40627-4d93-4324-b144-18a7e046d981" providerId="ADAL" clId="{33619D88-3F50-494B-83B9-988F8B17CC2F}" dt="2023-03-17T06:24:41.726" v="490" actId="1076"/>
          <ac:spMkLst>
            <pc:docMk/>
            <pc:sldMk cId="2294442288" sldId="2147469704"/>
            <ac:spMk id="163" creationId="{6DBB4C4E-0AE6-0BEC-7BF6-757F167E8959}"/>
          </ac:spMkLst>
        </pc:spChg>
        <pc:spChg chg="add mod">
          <ac:chgData name="Anjali Jaisinghani" userId="cad40627-4d93-4324-b144-18a7e046d981" providerId="ADAL" clId="{33619D88-3F50-494B-83B9-988F8B17CC2F}" dt="2023-03-21T04:47:57.355" v="9235" actId="164"/>
          <ac:spMkLst>
            <pc:docMk/>
            <pc:sldMk cId="2294442288" sldId="2147469704"/>
            <ac:spMk id="165" creationId="{A616618F-05EE-9391-7D6E-76A06CBB77D0}"/>
          </ac:spMkLst>
        </pc:spChg>
        <pc:spChg chg="mod">
          <ac:chgData name="Anjali Jaisinghani" userId="cad40627-4d93-4324-b144-18a7e046d981" providerId="ADAL" clId="{33619D88-3F50-494B-83B9-988F8B17CC2F}" dt="2023-03-20T07:32:15.559" v="6867" actId="207"/>
          <ac:spMkLst>
            <pc:docMk/>
            <pc:sldMk cId="2294442288" sldId="2147469704"/>
            <ac:spMk id="178" creationId="{D827F469-02B2-911A-3568-66F2DE0AAC34}"/>
          </ac:spMkLst>
        </pc:spChg>
        <pc:spChg chg="mod">
          <ac:chgData name="Anjali Jaisinghani" userId="cad40627-4d93-4324-b144-18a7e046d981" providerId="ADAL" clId="{33619D88-3F50-494B-83B9-988F8B17CC2F}" dt="2023-03-20T08:22:18.015" v="7375" actId="14100"/>
          <ac:spMkLst>
            <pc:docMk/>
            <pc:sldMk cId="2294442288" sldId="2147469704"/>
            <ac:spMk id="180" creationId="{FA074717-9297-A8A6-AC8E-8F90F0B01D88}"/>
          </ac:spMkLst>
        </pc:spChg>
        <pc:spChg chg="mod">
          <ac:chgData name="Anjali Jaisinghani" userId="cad40627-4d93-4324-b144-18a7e046d981" providerId="ADAL" clId="{33619D88-3F50-494B-83B9-988F8B17CC2F}" dt="2023-03-20T07:39:34.271" v="6897" actId="20577"/>
          <ac:spMkLst>
            <pc:docMk/>
            <pc:sldMk cId="2294442288" sldId="2147469704"/>
            <ac:spMk id="190" creationId="{42B1407E-0E2A-5DE0-D8FA-F45DA7240138}"/>
          </ac:spMkLst>
        </pc:spChg>
        <pc:spChg chg="mod">
          <ac:chgData name="Anjali Jaisinghani" userId="cad40627-4d93-4324-b144-18a7e046d981" providerId="ADAL" clId="{33619D88-3F50-494B-83B9-988F8B17CC2F}" dt="2023-03-20T07:55:24.454" v="7015" actId="1076"/>
          <ac:spMkLst>
            <pc:docMk/>
            <pc:sldMk cId="2294442288" sldId="2147469704"/>
            <ac:spMk id="191" creationId="{73EFF014-5473-4B62-7DB8-0A2B29EDB698}"/>
          </ac:spMkLst>
        </pc:spChg>
        <pc:spChg chg="mod">
          <ac:chgData name="Anjali Jaisinghani" userId="cad40627-4d93-4324-b144-18a7e046d981" providerId="ADAL" clId="{33619D88-3F50-494B-83B9-988F8B17CC2F}" dt="2023-03-17T06:24:41.726" v="490" actId="1076"/>
          <ac:spMkLst>
            <pc:docMk/>
            <pc:sldMk cId="2294442288" sldId="2147469704"/>
            <ac:spMk id="204" creationId="{2619E581-BF56-0EC2-3E1D-F0781F03BAAC}"/>
          </ac:spMkLst>
        </pc:spChg>
        <pc:spChg chg="del mod">
          <ac:chgData name="Anjali Jaisinghani" userId="cad40627-4d93-4324-b144-18a7e046d981" providerId="ADAL" clId="{33619D88-3F50-494B-83B9-988F8B17CC2F}" dt="2023-03-20T05:48:17.408" v="6028" actId="478"/>
          <ac:spMkLst>
            <pc:docMk/>
            <pc:sldMk cId="2294442288" sldId="2147469704"/>
            <ac:spMk id="215" creationId="{EF6D50C1-6F3E-CD9A-3EBA-843BB7AFB8EC}"/>
          </ac:spMkLst>
        </pc:spChg>
        <pc:spChg chg="mod">
          <ac:chgData name="Anjali Jaisinghani" userId="cad40627-4d93-4324-b144-18a7e046d981" providerId="ADAL" clId="{33619D88-3F50-494B-83B9-988F8B17CC2F}" dt="2023-03-17T06:24:44.962" v="491" actId="1076"/>
          <ac:spMkLst>
            <pc:docMk/>
            <pc:sldMk cId="2294442288" sldId="2147469704"/>
            <ac:spMk id="231" creationId="{2190C235-E4E7-A629-AED9-60298F370C87}"/>
          </ac:spMkLst>
        </pc:spChg>
        <pc:grpChg chg="mod">
          <ac:chgData name="Anjali Jaisinghani" userId="cad40627-4d93-4324-b144-18a7e046d981" providerId="ADAL" clId="{33619D88-3F50-494B-83B9-988F8B17CC2F}" dt="2023-03-17T06:24:41.726" v="490" actId="1076"/>
          <ac:grpSpMkLst>
            <pc:docMk/>
            <pc:sldMk cId="2294442288" sldId="2147469704"/>
            <ac:grpSpMk id="13" creationId="{DBDBD68B-7755-9179-EFC4-03EDBED3496D}"/>
          </ac:grpSpMkLst>
        </pc:grpChg>
        <pc:grpChg chg="mod">
          <ac:chgData name="Anjali Jaisinghani" userId="cad40627-4d93-4324-b144-18a7e046d981" providerId="ADAL" clId="{33619D88-3F50-494B-83B9-988F8B17CC2F}" dt="2023-03-17T06:24:41.726" v="490" actId="1076"/>
          <ac:grpSpMkLst>
            <pc:docMk/>
            <pc:sldMk cId="2294442288" sldId="2147469704"/>
            <ac:grpSpMk id="19" creationId="{DA0B1F74-AF06-E8E2-FF1E-79FC7E47FDEC}"/>
          </ac:grpSpMkLst>
        </pc:grpChg>
        <pc:grpChg chg="mod">
          <ac:chgData name="Anjali Jaisinghani" userId="cad40627-4d93-4324-b144-18a7e046d981" providerId="ADAL" clId="{33619D88-3F50-494B-83B9-988F8B17CC2F}" dt="2023-03-20T07:27:13.513" v="6726" actId="1076"/>
          <ac:grpSpMkLst>
            <pc:docMk/>
            <pc:sldMk cId="2294442288" sldId="2147469704"/>
            <ac:grpSpMk id="23" creationId="{2E91A093-5773-31C9-FD89-2225C08FCA3E}"/>
          </ac:grpSpMkLst>
        </pc:grpChg>
        <pc:grpChg chg="add mod">
          <ac:chgData name="Anjali Jaisinghani" userId="cad40627-4d93-4324-b144-18a7e046d981" providerId="ADAL" clId="{33619D88-3F50-494B-83B9-988F8B17CC2F}" dt="2023-03-20T07:53:02.295" v="6989" actId="1076"/>
          <ac:grpSpMkLst>
            <pc:docMk/>
            <pc:sldMk cId="2294442288" sldId="2147469704"/>
            <ac:grpSpMk id="41" creationId="{3858D292-59F6-151D-9848-05FFD260EFDC}"/>
          </ac:grpSpMkLst>
        </pc:grpChg>
        <pc:grpChg chg="add mod">
          <ac:chgData name="Anjali Jaisinghani" userId="cad40627-4d93-4324-b144-18a7e046d981" providerId="ADAL" clId="{33619D88-3F50-494B-83B9-988F8B17CC2F}" dt="2023-03-20T08:26:14.551" v="7378" actId="1076"/>
          <ac:grpSpMkLst>
            <pc:docMk/>
            <pc:sldMk cId="2294442288" sldId="2147469704"/>
            <ac:grpSpMk id="43" creationId="{D3E23F6C-E7CF-574C-5DD6-6EC0FADD4B85}"/>
          </ac:grpSpMkLst>
        </pc:grpChg>
        <pc:grpChg chg="mod">
          <ac:chgData name="Anjali Jaisinghani" userId="cad40627-4d93-4324-b144-18a7e046d981" providerId="ADAL" clId="{33619D88-3F50-494B-83B9-988F8B17CC2F}" dt="2023-03-21T04:46:44.360" v="9221" actId="1076"/>
          <ac:grpSpMkLst>
            <pc:docMk/>
            <pc:sldMk cId="2294442288" sldId="2147469704"/>
            <ac:grpSpMk id="68" creationId="{404A716C-2620-87BB-5096-7B702384C940}"/>
          </ac:grpSpMkLst>
        </pc:grpChg>
        <pc:grpChg chg="mod">
          <ac:chgData name="Anjali Jaisinghani" userId="cad40627-4d93-4324-b144-18a7e046d981" providerId="ADAL" clId="{33619D88-3F50-494B-83B9-988F8B17CC2F}" dt="2023-03-21T04:40:43.094" v="9169" actId="1076"/>
          <ac:grpSpMkLst>
            <pc:docMk/>
            <pc:sldMk cId="2294442288" sldId="2147469704"/>
            <ac:grpSpMk id="74" creationId="{1CAAE796-D7EB-8206-09FC-F70C2EEC838B}"/>
          </ac:grpSpMkLst>
        </pc:grpChg>
        <pc:grpChg chg="mod">
          <ac:chgData name="Anjali Jaisinghani" userId="cad40627-4d93-4324-b144-18a7e046d981" providerId="ADAL" clId="{33619D88-3F50-494B-83B9-988F8B17CC2F}" dt="2023-03-17T06:24:41.726" v="490" actId="1076"/>
          <ac:grpSpMkLst>
            <pc:docMk/>
            <pc:sldMk cId="2294442288" sldId="2147469704"/>
            <ac:grpSpMk id="97" creationId="{B57F7F2D-5652-AF86-AD3A-8E1E30A873EF}"/>
          </ac:grpSpMkLst>
        </pc:grpChg>
        <pc:grpChg chg="mod">
          <ac:chgData name="Anjali Jaisinghani" userId="cad40627-4d93-4324-b144-18a7e046d981" providerId="ADAL" clId="{33619D88-3F50-494B-83B9-988F8B17CC2F}" dt="2023-03-17T06:24:41.726" v="490" actId="1076"/>
          <ac:grpSpMkLst>
            <pc:docMk/>
            <pc:sldMk cId="2294442288" sldId="2147469704"/>
            <ac:grpSpMk id="100" creationId="{8944B3AD-F2BF-D41F-8379-6FFCF4DAF9C8}"/>
          </ac:grpSpMkLst>
        </pc:grpChg>
        <pc:grpChg chg="mod">
          <ac:chgData name="Anjali Jaisinghani" userId="cad40627-4d93-4324-b144-18a7e046d981" providerId="ADAL" clId="{33619D88-3F50-494B-83B9-988F8B17CC2F}" dt="2023-03-17T06:24:41.726" v="490" actId="1076"/>
          <ac:grpSpMkLst>
            <pc:docMk/>
            <pc:sldMk cId="2294442288" sldId="2147469704"/>
            <ac:grpSpMk id="101" creationId="{B56D4D7E-4AC5-7F79-4EF8-7FE61B230912}"/>
          </ac:grpSpMkLst>
        </pc:grpChg>
        <pc:grpChg chg="mod">
          <ac:chgData name="Anjali Jaisinghani" userId="cad40627-4d93-4324-b144-18a7e046d981" providerId="ADAL" clId="{33619D88-3F50-494B-83B9-988F8B17CC2F}" dt="2023-03-17T06:24:41.726" v="490" actId="1076"/>
          <ac:grpSpMkLst>
            <pc:docMk/>
            <pc:sldMk cId="2294442288" sldId="2147469704"/>
            <ac:grpSpMk id="104" creationId="{72331695-4F05-AF2A-3585-518CB2761363}"/>
          </ac:grpSpMkLst>
        </pc:grpChg>
        <pc:grpChg chg="mod">
          <ac:chgData name="Anjali Jaisinghani" userId="cad40627-4d93-4324-b144-18a7e046d981" providerId="ADAL" clId="{33619D88-3F50-494B-83B9-988F8B17CC2F}" dt="2023-03-17T06:24:41.726" v="490" actId="1076"/>
          <ac:grpSpMkLst>
            <pc:docMk/>
            <pc:sldMk cId="2294442288" sldId="2147469704"/>
            <ac:grpSpMk id="118" creationId="{AF8E5F62-6C11-9FD2-7046-49658BDD1E04}"/>
          </ac:grpSpMkLst>
        </pc:grpChg>
        <pc:grpChg chg="mod">
          <ac:chgData name="Anjali Jaisinghani" userId="cad40627-4d93-4324-b144-18a7e046d981" providerId="ADAL" clId="{33619D88-3F50-494B-83B9-988F8B17CC2F}" dt="2023-03-17T06:24:41.726" v="490" actId="1076"/>
          <ac:grpSpMkLst>
            <pc:docMk/>
            <pc:sldMk cId="2294442288" sldId="2147469704"/>
            <ac:grpSpMk id="122" creationId="{BB193ABF-0178-F367-BBA8-7711D18B525D}"/>
          </ac:grpSpMkLst>
        </pc:grpChg>
        <pc:grpChg chg="mod">
          <ac:chgData name="Anjali Jaisinghani" userId="cad40627-4d93-4324-b144-18a7e046d981" providerId="ADAL" clId="{33619D88-3F50-494B-83B9-988F8B17CC2F}" dt="2023-03-17T06:24:41.726" v="490" actId="1076"/>
          <ac:grpSpMkLst>
            <pc:docMk/>
            <pc:sldMk cId="2294442288" sldId="2147469704"/>
            <ac:grpSpMk id="123" creationId="{90C91862-EE9C-CC8E-5610-11558344BE4A}"/>
          </ac:grpSpMkLst>
        </pc:grpChg>
        <pc:grpChg chg="mod">
          <ac:chgData name="Anjali Jaisinghani" userId="cad40627-4d93-4324-b144-18a7e046d981" providerId="ADAL" clId="{33619D88-3F50-494B-83B9-988F8B17CC2F}" dt="2023-03-17T06:24:41.726" v="490" actId="1076"/>
          <ac:grpSpMkLst>
            <pc:docMk/>
            <pc:sldMk cId="2294442288" sldId="2147469704"/>
            <ac:grpSpMk id="127" creationId="{FAE0B7C6-A3B2-7B1D-1A04-85D71DDD0174}"/>
          </ac:grpSpMkLst>
        </pc:grpChg>
        <pc:grpChg chg="add mod">
          <ac:chgData name="Anjali Jaisinghani" userId="cad40627-4d93-4324-b144-18a7e046d981" providerId="ADAL" clId="{33619D88-3F50-494B-83B9-988F8B17CC2F}" dt="2023-03-21T04:41:12.181" v="9175" actId="1076"/>
          <ac:grpSpMkLst>
            <pc:docMk/>
            <pc:sldMk cId="2294442288" sldId="2147469704"/>
            <ac:grpSpMk id="129" creationId="{819237CA-63B1-366A-8F26-ED8C96FA60D4}"/>
          </ac:grpSpMkLst>
        </pc:grpChg>
        <pc:grpChg chg="mod">
          <ac:chgData name="Anjali Jaisinghani" userId="cad40627-4d93-4324-b144-18a7e046d981" providerId="ADAL" clId="{33619D88-3F50-494B-83B9-988F8B17CC2F}" dt="2023-03-21T04:36:44.953" v="9127" actId="164"/>
          <ac:grpSpMkLst>
            <pc:docMk/>
            <pc:sldMk cId="2294442288" sldId="2147469704"/>
            <ac:grpSpMk id="144" creationId="{75C1E0FE-D3C4-BFD2-29A8-8EC5A44F28FE}"/>
          </ac:grpSpMkLst>
        </pc:grpChg>
        <pc:grpChg chg="mod">
          <ac:chgData name="Anjali Jaisinghani" userId="cad40627-4d93-4324-b144-18a7e046d981" providerId="ADAL" clId="{33619D88-3F50-494B-83B9-988F8B17CC2F}" dt="2023-03-17T06:24:41.726" v="490" actId="1076"/>
          <ac:grpSpMkLst>
            <pc:docMk/>
            <pc:sldMk cId="2294442288" sldId="2147469704"/>
            <ac:grpSpMk id="151" creationId="{868B3A6C-E65E-498D-7CC7-BAB7C82BFD2F}"/>
          </ac:grpSpMkLst>
        </pc:grpChg>
        <pc:grpChg chg="add mod">
          <ac:chgData name="Anjali Jaisinghani" userId="cad40627-4d93-4324-b144-18a7e046d981" providerId="ADAL" clId="{33619D88-3F50-494B-83B9-988F8B17CC2F}" dt="2023-03-21T04:36:44.953" v="9127" actId="164"/>
          <ac:grpSpMkLst>
            <pc:docMk/>
            <pc:sldMk cId="2294442288" sldId="2147469704"/>
            <ac:grpSpMk id="156" creationId="{7F181C7C-2D95-6008-7303-68C2725BD706}"/>
          </ac:grpSpMkLst>
        </pc:grpChg>
        <pc:grpChg chg="mod">
          <ac:chgData name="Anjali Jaisinghani" userId="cad40627-4d93-4324-b144-18a7e046d981" providerId="ADAL" clId="{33619D88-3F50-494B-83B9-988F8B17CC2F}" dt="2023-03-17T06:24:41.726" v="490" actId="1076"/>
          <ac:grpSpMkLst>
            <pc:docMk/>
            <pc:sldMk cId="2294442288" sldId="2147469704"/>
            <ac:grpSpMk id="164" creationId="{6716BEBD-C01C-8850-6224-00BF87A8D03C}"/>
          </ac:grpSpMkLst>
        </pc:grpChg>
        <pc:grpChg chg="add mod">
          <ac:chgData name="Anjali Jaisinghani" userId="cad40627-4d93-4324-b144-18a7e046d981" providerId="ADAL" clId="{33619D88-3F50-494B-83B9-988F8B17CC2F}" dt="2023-03-21T04:46:59.436" v="9224" actId="164"/>
          <ac:grpSpMkLst>
            <pc:docMk/>
            <pc:sldMk cId="2294442288" sldId="2147469704"/>
            <ac:grpSpMk id="166" creationId="{C6D66FC3-8276-FC03-5FC3-59709CCC7267}"/>
          </ac:grpSpMkLst>
        </pc:grpChg>
        <pc:grpChg chg="add mod">
          <ac:chgData name="Anjali Jaisinghani" userId="cad40627-4d93-4324-b144-18a7e046d981" providerId="ADAL" clId="{33619D88-3F50-494B-83B9-988F8B17CC2F}" dt="2023-03-21T04:47:57.355" v="9235" actId="164"/>
          <ac:grpSpMkLst>
            <pc:docMk/>
            <pc:sldMk cId="2294442288" sldId="2147469704"/>
            <ac:grpSpMk id="167" creationId="{DE028D8F-6FEC-93D6-3DF8-B262C8013F5C}"/>
          </ac:grpSpMkLst>
        </pc:grpChg>
        <pc:grpChg chg="mod">
          <ac:chgData name="Anjali Jaisinghani" userId="cad40627-4d93-4324-b144-18a7e046d981" providerId="ADAL" clId="{33619D88-3F50-494B-83B9-988F8B17CC2F}" dt="2023-03-21T04:49:11.436" v="9242" actId="1076"/>
          <ac:grpSpMkLst>
            <pc:docMk/>
            <pc:sldMk cId="2294442288" sldId="2147469704"/>
            <ac:grpSpMk id="171" creationId="{AD0FD489-F681-A11B-436C-C8B3388ED270}"/>
          </ac:grpSpMkLst>
        </pc:grpChg>
        <pc:grpChg chg="mod">
          <ac:chgData name="Anjali Jaisinghani" userId="cad40627-4d93-4324-b144-18a7e046d981" providerId="ADAL" clId="{33619D88-3F50-494B-83B9-988F8B17CC2F}" dt="2023-03-20T07:51:40.335" v="6974" actId="1076"/>
          <ac:grpSpMkLst>
            <pc:docMk/>
            <pc:sldMk cId="2294442288" sldId="2147469704"/>
            <ac:grpSpMk id="179" creationId="{822E2DC1-5527-9FDD-5FE8-B14961243054}"/>
          </ac:grpSpMkLst>
        </pc:grpChg>
        <pc:grpChg chg="del mod">
          <ac:chgData name="Anjali Jaisinghani" userId="cad40627-4d93-4324-b144-18a7e046d981" providerId="ADAL" clId="{33619D88-3F50-494B-83B9-988F8B17CC2F}" dt="2023-03-20T07:38:37.014" v="6876" actId="478"/>
          <ac:grpSpMkLst>
            <pc:docMk/>
            <pc:sldMk cId="2294442288" sldId="2147469704"/>
            <ac:grpSpMk id="184" creationId="{C3D08E22-28D2-6F25-558C-6E104AC7CEF3}"/>
          </ac:grpSpMkLst>
        </pc:grpChg>
        <pc:grpChg chg="mod">
          <ac:chgData name="Anjali Jaisinghani" userId="cad40627-4d93-4324-b144-18a7e046d981" providerId="ADAL" clId="{33619D88-3F50-494B-83B9-988F8B17CC2F}" dt="2023-03-17T06:24:41.726" v="490" actId="1076"/>
          <ac:grpSpMkLst>
            <pc:docMk/>
            <pc:sldMk cId="2294442288" sldId="2147469704"/>
            <ac:grpSpMk id="203" creationId="{99632E1C-F007-CE40-CFA7-5A78573361ED}"/>
          </ac:grpSpMkLst>
        </pc:grpChg>
        <pc:picChg chg="mod">
          <ac:chgData name="Anjali Jaisinghani" userId="cad40627-4d93-4324-b144-18a7e046d981" providerId="ADAL" clId="{33619D88-3F50-494B-83B9-988F8B17CC2F}" dt="2023-03-17T06:24:41.726" v="490" actId="1076"/>
          <ac:picMkLst>
            <pc:docMk/>
            <pc:sldMk cId="2294442288" sldId="2147469704"/>
            <ac:picMk id="3" creationId="{094BA719-DB06-0584-C28E-9F589D7E56AC}"/>
          </ac:picMkLst>
        </pc:picChg>
        <pc:picChg chg="mod">
          <ac:chgData name="Anjali Jaisinghani" userId="cad40627-4d93-4324-b144-18a7e046d981" providerId="ADAL" clId="{33619D88-3F50-494B-83B9-988F8B17CC2F}" dt="2023-03-17T06:24:41.726" v="490" actId="1076"/>
          <ac:picMkLst>
            <pc:docMk/>
            <pc:sldMk cId="2294442288" sldId="2147469704"/>
            <ac:picMk id="18" creationId="{793CEF60-2DFF-2A61-5801-990E92D1F89A}"/>
          </ac:picMkLst>
        </pc:picChg>
        <pc:picChg chg="mod">
          <ac:chgData name="Anjali Jaisinghani" userId="cad40627-4d93-4324-b144-18a7e046d981" providerId="ADAL" clId="{33619D88-3F50-494B-83B9-988F8B17CC2F}" dt="2023-03-20T08:09:22.239" v="7259" actId="1076"/>
          <ac:picMkLst>
            <pc:docMk/>
            <pc:sldMk cId="2294442288" sldId="2147469704"/>
            <ac:picMk id="21" creationId="{C5FFAA86-5F36-E2DE-FAC4-85C819E4DBF2}"/>
          </ac:picMkLst>
        </pc:picChg>
        <pc:picChg chg="add mod modCrop">
          <ac:chgData name="Anjali Jaisinghani" userId="cad40627-4d93-4324-b144-18a7e046d981" providerId="ADAL" clId="{33619D88-3F50-494B-83B9-988F8B17CC2F}" dt="2023-03-20T07:53:02.295" v="6989" actId="1076"/>
          <ac:picMkLst>
            <pc:docMk/>
            <pc:sldMk cId="2294442288" sldId="2147469704"/>
            <ac:picMk id="39" creationId="{1DEBA1D0-892E-BF56-572C-727405DF2E27}"/>
          </ac:picMkLst>
        </pc:picChg>
        <pc:picChg chg="mod">
          <ac:chgData name="Anjali Jaisinghani" userId="cad40627-4d93-4324-b144-18a7e046d981" providerId="ADAL" clId="{33619D88-3F50-494B-83B9-988F8B17CC2F}" dt="2023-03-21T04:40:43.094" v="9169" actId="1076"/>
          <ac:picMkLst>
            <pc:docMk/>
            <pc:sldMk cId="2294442288" sldId="2147469704"/>
            <ac:picMk id="40" creationId="{E2973E1C-71E6-4F0F-743B-C978F36BAAA0}"/>
          </ac:picMkLst>
        </pc:picChg>
        <pc:picChg chg="mod">
          <ac:chgData name="Anjali Jaisinghani" userId="cad40627-4d93-4324-b144-18a7e046d981" providerId="ADAL" clId="{33619D88-3F50-494B-83B9-988F8B17CC2F}" dt="2023-03-20T08:26:14.551" v="7378" actId="1076"/>
          <ac:picMkLst>
            <pc:docMk/>
            <pc:sldMk cId="2294442288" sldId="2147469704"/>
            <ac:picMk id="44" creationId="{E379536C-271C-0E33-9296-65BAB2AF0B6B}"/>
          </ac:picMkLst>
        </pc:picChg>
        <pc:picChg chg="mod">
          <ac:chgData name="Anjali Jaisinghani" userId="cad40627-4d93-4324-b144-18a7e046d981" providerId="ADAL" clId="{33619D88-3F50-494B-83B9-988F8B17CC2F}" dt="2023-03-20T08:26:14.551" v="7378" actId="1076"/>
          <ac:picMkLst>
            <pc:docMk/>
            <pc:sldMk cId="2294442288" sldId="2147469704"/>
            <ac:picMk id="45" creationId="{59937CE3-1C4F-DB22-E03C-3F7483EDB7F7}"/>
          </ac:picMkLst>
        </pc:picChg>
        <pc:picChg chg="mod">
          <ac:chgData name="Anjali Jaisinghani" userId="cad40627-4d93-4324-b144-18a7e046d981" providerId="ADAL" clId="{33619D88-3F50-494B-83B9-988F8B17CC2F}" dt="2023-03-17T06:24:41.726" v="490" actId="1076"/>
          <ac:picMkLst>
            <pc:docMk/>
            <pc:sldMk cId="2294442288" sldId="2147469704"/>
            <ac:picMk id="59" creationId="{67FF5E16-00C7-595C-F89F-053D48E53101}"/>
          </ac:picMkLst>
        </pc:picChg>
        <pc:picChg chg="mod">
          <ac:chgData name="Anjali Jaisinghani" userId="cad40627-4d93-4324-b144-18a7e046d981" providerId="ADAL" clId="{33619D88-3F50-494B-83B9-988F8B17CC2F}" dt="2023-03-21T04:46:44.360" v="9221" actId="1076"/>
          <ac:picMkLst>
            <pc:docMk/>
            <pc:sldMk cId="2294442288" sldId="2147469704"/>
            <ac:picMk id="65" creationId="{9752C912-C67E-7AEE-7314-AEB75FBB7401}"/>
          </ac:picMkLst>
        </pc:picChg>
        <pc:picChg chg="add mod">
          <ac:chgData name="Anjali Jaisinghani" userId="cad40627-4d93-4324-b144-18a7e046d981" providerId="ADAL" clId="{33619D88-3F50-494B-83B9-988F8B17CC2F}" dt="2023-03-20T07:59:10.415" v="7087" actId="164"/>
          <ac:picMkLst>
            <pc:docMk/>
            <pc:sldMk cId="2294442288" sldId="2147469704"/>
            <ac:picMk id="73" creationId="{A35C993C-148D-4FC6-AED9-7274F45C8F21}"/>
          </ac:picMkLst>
        </pc:picChg>
        <pc:picChg chg="mod">
          <ac:chgData name="Anjali Jaisinghani" userId="cad40627-4d93-4324-b144-18a7e046d981" providerId="ADAL" clId="{33619D88-3F50-494B-83B9-988F8B17CC2F}" dt="2023-03-21T04:49:05.861" v="9241" actId="1076"/>
          <ac:picMkLst>
            <pc:docMk/>
            <pc:sldMk cId="2294442288" sldId="2147469704"/>
            <ac:picMk id="78" creationId="{B1B568D2-2ADC-B1A0-FA93-04E8FAB72405}"/>
          </ac:picMkLst>
        </pc:picChg>
        <pc:picChg chg="mod">
          <ac:chgData name="Anjali Jaisinghani" userId="cad40627-4d93-4324-b144-18a7e046d981" providerId="ADAL" clId="{33619D88-3F50-494B-83B9-988F8B17CC2F}" dt="2023-03-17T06:24:41.726" v="490" actId="1076"/>
          <ac:picMkLst>
            <pc:docMk/>
            <pc:sldMk cId="2294442288" sldId="2147469704"/>
            <ac:picMk id="84" creationId="{6295CB22-8727-195E-A991-C945594918A1}"/>
          </ac:picMkLst>
        </pc:picChg>
        <pc:picChg chg="mod">
          <ac:chgData name="Anjali Jaisinghani" userId="cad40627-4d93-4324-b144-18a7e046d981" providerId="ADAL" clId="{33619D88-3F50-494B-83B9-988F8B17CC2F}" dt="2023-03-17T06:27:04.481" v="505" actId="1076"/>
          <ac:picMkLst>
            <pc:docMk/>
            <pc:sldMk cId="2294442288" sldId="2147469704"/>
            <ac:picMk id="90" creationId="{6FFDBE8D-CB4D-39AC-14A5-09AD949CC28D}"/>
          </ac:picMkLst>
        </pc:picChg>
        <pc:picChg chg="mod">
          <ac:chgData name="Anjali Jaisinghani" userId="cad40627-4d93-4324-b144-18a7e046d981" providerId="ADAL" clId="{33619D88-3F50-494B-83B9-988F8B17CC2F}" dt="2023-03-17T06:24:41.726" v="490" actId="1076"/>
          <ac:picMkLst>
            <pc:docMk/>
            <pc:sldMk cId="2294442288" sldId="2147469704"/>
            <ac:picMk id="99" creationId="{14A34540-4855-8F91-8133-0EFFC1ECA677}"/>
          </ac:picMkLst>
        </pc:picChg>
        <pc:picChg chg="mod">
          <ac:chgData name="Anjali Jaisinghani" userId="cad40627-4d93-4324-b144-18a7e046d981" providerId="ADAL" clId="{33619D88-3F50-494B-83B9-988F8B17CC2F}" dt="2023-03-17T06:27:21.539" v="506" actId="1076"/>
          <ac:picMkLst>
            <pc:docMk/>
            <pc:sldMk cId="2294442288" sldId="2147469704"/>
            <ac:picMk id="102" creationId="{22CF3941-A7CC-E693-A594-C3232AB7FA23}"/>
          </ac:picMkLst>
        </pc:picChg>
        <pc:picChg chg="mod">
          <ac:chgData name="Anjali Jaisinghani" userId="cad40627-4d93-4324-b144-18a7e046d981" providerId="ADAL" clId="{33619D88-3F50-494B-83B9-988F8B17CC2F}" dt="2023-03-17T06:24:41.726" v="490" actId="1076"/>
          <ac:picMkLst>
            <pc:docMk/>
            <pc:sldMk cId="2294442288" sldId="2147469704"/>
            <ac:picMk id="138" creationId="{5FF5983F-7210-2FA5-F1AE-DDA01593B99E}"/>
          </ac:picMkLst>
        </pc:picChg>
        <pc:picChg chg="add mod modCrop">
          <ac:chgData name="Anjali Jaisinghani" userId="cad40627-4d93-4324-b144-18a7e046d981" providerId="ADAL" clId="{33619D88-3F50-494B-83B9-988F8B17CC2F}" dt="2023-03-21T04:36:44.953" v="9127" actId="164"/>
          <ac:picMkLst>
            <pc:docMk/>
            <pc:sldMk cId="2294442288" sldId="2147469704"/>
            <ac:picMk id="155" creationId="{BA37233C-6700-EF1D-7C2E-6F2067CC3DFC}"/>
          </ac:picMkLst>
        </pc:picChg>
        <pc:picChg chg="add mod modCrop">
          <ac:chgData name="Anjali Jaisinghani" userId="cad40627-4d93-4324-b144-18a7e046d981" providerId="ADAL" clId="{33619D88-3F50-494B-83B9-988F8B17CC2F}" dt="2023-03-21T04:46:59.436" v="9224" actId="164"/>
          <ac:picMkLst>
            <pc:docMk/>
            <pc:sldMk cId="2294442288" sldId="2147469704"/>
            <ac:picMk id="158" creationId="{2DD2B7C6-9EA6-A3C9-00D3-DE1C88A7ECA1}"/>
          </ac:picMkLst>
        </pc:picChg>
        <pc:picChg chg="add mod modCrop">
          <ac:chgData name="Anjali Jaisinghani" userId="cad40627-4d93-4324-b144-18a7e046d981" providerId="ADAL" clId="{33619D88-3F50-494B-83B9-988F8B17CC2F}" dt="2023-03-21T04:47:57.355" v="9235" actId="164"/>
          <ac:picMkLst>
            <pc:docMk/>
            <pc:sldMk cId="2294442288" sldId="2147469704"/>
            <ac:picMk id="161" creationId="{D0B1A323-8B85-288A-D6F3-E9430909E311}"/>
          </ac:picMkLst>
        </pc:picChg>
        <pc:picChg chg="mod">
          <ac:chgData name="Anjali Jaisinghani" userId="cad40627-4d93-4324-b144-18a7e046d981" providerId="ADAL" clId="{33619D88-3F50-494B-83B9-988F8B17CC2F}" dt="2023-03-17T06:24:41.726" v="490" actId="1076"/>
          <ac:picMkLst>
            <pc:docMk/>
            <pc:sldMk cId="2294442288" sldId="2147469704"/>
            <ac:picMk id="162" creationId="{3E86B724-E9A0-B9E5-8C35-869B5BF14770}"/>
          </ac:picMkLst>
        </pc:picChg>
        <pc:picChg chg="mod">
          <ac:chgData name="Anjali Jaisinghani" userId="cad40627-4d93-4324-b144-18a7e046d981" providerId="ADAL" clId="{33619D88-3F50-494B-83B9-988F8B17CC2F}" dt="2023-03-20T07:31:53.190" v="6863" actId="1076"/>
          <ac:picMkLst>
            <pc:docMk/>
            <pc:sldMk cId="2294442288" sldId="2147469704"/>
            <ac:picMk id="177" creationId="{1FEC01ED-EC87-B1EB-AC79-F4012A84BF0C}"/>
          </ac:picMkLst>
        </pc:picChg>
        <pc:picChg chg="mod">
          <ac:chgData name="Anjali Jaisinghani" userId="cad40627-4d93-4324-b144-18a7e046d981" providerId="ADAL" clId="{33619D88-3F50-494B-83B9-988F8B17CC2F}" dt="2023-03-20T07:53:02.295" v="6989" actId="1076"/>
          <ac:picMkLst>
            <pc:docMk/>
            <pc:sldMk cId="2294442288" sldId="2147469704"/>
            <ac:picMk id="183" creationId="{F65B063F-69A8-C84A-8E16-92A9FE6C6D1A}"/>
          </ac:picMkLst>
        </pc:picChg>
        <pc:picChg chg="mod">
          <ac:chgData name="Anjali Jaisinghani" userId="cad40627-4d93-4324-b144-18a7e046d981" providerId="ADAL" clId="{33619D88-3F50-494B-83B9-988F8B17CC2F}" dt="2023-03-17T06:24:41.726" v="490" actId="1076"/>
          <ac:picMkLst>
            <pc:docMk/>
            <pc:sldMk cId="2294442288" sldId="2147469704"/>
            <ac:picMk id="185" creationId="{524593E9-E153-8E54-0C48-8386C2482A55}"/>
          </ac:picMkLst>
        </pc:picChg>
        <pc:picChg chg="mod">
          <ac:chgData name="Anjali Jaisinghani" userId="cad40627-4d93-4324-b144-18a7e046d981" providerId="ADAL" clId="{33619D88-3F50-494B-83B9-988F8B17CC2F}" dt="2023-03-17T06:24:41.726" v="490" actId="1076"/>
          <ac:picMkLst>
            <pc:docMk/>
            <pc:sldMk cId="2294442288" sldId="2147469704"/>
            <ac:picMk id="186" creationId="{48CFCD17-6616-9A10-EEB3-FC6D62C1DDB1}"/>
          </ac:picMkLst>
        </pc:picChg>
        <pc:picChg chg="mod">
          <ac:chgData name="Anjali Jaisinghani" userId="cad40627-4d93-4324-b144-18a7e046d981" providerId="ADAL" clId="{33619D88-3F50-494B-83B9-988F8B17CC2F}" dt="2023-03-17T06:24:41.726" v="490" actId="1076"/>
          <ac:picMkLst>
            <pc:docMk/>
            <pc:sldMk cId="2294442288" sldId="2147469704"/>
            <ac:picMk id="205" creationId="{72BF156F-93FD-D99E-CDFF-FC5E579BBA63}"/>
          </ac:picMkLst>
        </pc:picChg>
        <pc:cxnChg chg="add mod">
          <ac:chgData name="Anjali Jaisinghani" userId="cad40627-4d93-4324-b144-18a7e046d981" providerId="ADAL" clId="{33619D88-3F50-494B-83B9-988F8B17CC2F}" dt="2023-03-21T04:40:43.094" v="9169" actId="1076"/>
          <ac:cxnSpMkLst>
            <pc:docMk/>
            <pc:sldMk cId="2294442288" sldId="2147469704"/>
            <ac:cxnSpMk id="2" creationId="{A94D5EAE-817A-FFA5-A974-177733C2547B}"/>
          </ac:cxnSpMkLst>
        </pc:cxnChg>
        <pc:cxnChg chg="add del mod">
          <ac:chgData name="Anjali Jaisinghani" userId="cad40627-4d93-4324-b144-18a7e046d981" providerId="ADAL" clId="{33619D88-3F50-494B-83B9-988F8B17CC2F}" dt="2023-03-20T05:54:51.098" v="6229"/>
          <ac:cxnSpMkLst>
            <pc:docMk/>
            <pc:sldMk cId="2294442288" sldId="2147469704"/>
            <ac:cxnSpMk id="6" creationId="{5B645075-8BD8-1868-39E6-6CAE92D1E082}"/>
          </ac:cxnSpMkLst>
        </pc:cxnChg>
        <pc:cxnChg chg="mod">
          <ac:chgData name="Anjali Jaisinghani" userId="cad40627-4d93-4324-b144-18a7e046d981" providerId="ADAL" clId="{33619D88-3F50-494B-83B9-988F8B17CC2F}" dt="2023-03-21T04:46:44.360" v="9221" actId="1076"/>
          <ac:cxnSpMkLst>
            <pc:docMk/>
            <pc:sldMk cId="2294442288" sldId="2147469704"/>
            <ac:cxnSpMk id="25" creationId="{67C4D4F3-89A7-8A83-E8C4-5978749DF509}"/>
          </ac:cxnSpMkLst>
        </pc:cxnChg>
        <pc:cxnChg chg="mod">
          <ac:chgData name="Anjali Jaisinghani" userId="cad40627-4d93-4324-b144-18a7e046d981" providerId="ADAL" clId="{33619D88-3F50-494B-83B9-988F8B17CC2F}" dt="2023-03-21T04:40:43.094" v="9169" actId="1076"/>
          <ac:cxnSpMkLst>
            <pc:docMk/>
            <pc:sldMk cId="2294442288" sldId="2147469704"/>
            <ac:cxnSpMk id="26" creationId="{9C41F592-C400-4B60-4F2C-7FCED680097D}"/>
          </ac:cxnSpMkLst>
        </pc:cxnChg>
        <pc:cxnChg chg="mod">
          <ac:chgData name="Anjali Jaisinghani" userId="cad40627-4d93-4324-b144-18a7e046d981" providerId="ADAL" clId="{33619D88-3F50-494B-83B9-988F8B17CC2F}" dt="2023-03-21T04:46:44.360" v="9221" actId="1076"/>
          <ac:cxnSpMkLst>
            <pc:docMk/>
            <pc:sldMk cId="2294442288" sldId="2147469704"/>
            <ac:cxnSpMk id="27" creationId="{78093213-20DB-1DEF-87F7-CD473DCEE3AB}"/>
          </ac:cxnSpMkLst>
        </pc:cxnChg>
        <pc:cxnChg chg="mod">
          <ac:chgData name="Anjali Jaisinghani" userId="cad40627-4d93-4324-b144-18a7e046d981" providerId="ADAL" clId="{33619D88-3F50-494B-83B9-988F8B17CC2F}" dt="2023-03-20T07:51:40.335" v="6974" actId="1076"/>
          <ac:cxnSpMkLst>
            <pc:docMk/>
            <pc:sldMk cId="2294442288" sldId="2147469704"/>
            <ac:cxnSpMk id="28" creationId="{9C741671-46B6-60CD-E5E6-6CFAFAD91BE0}"/>
          </ac:cxnSpMkLst>
        </pc:cxnChg>
        <pc:cxnChg chg="mod">
          <ac:chgData name="Anjali Jaisinghani" userId="cad40627-4d93-4324-b144-18a7e046d981" providerId="ADAL" clId="{33619D88-3F50-494B-83B9-988F8B17CC2F}" dt="2023-03-20T08:09:22.239" v="7259" actId="1076"/>
          <ac:cxnSpMkLst>
            <pc:docMk/>
            <pc:sldMk cId="2294442288" sldId="2147469704"/>
            <ac:cxnSpMk id="29" creationId="{A047A38E-8095-49E1-C6C4-B19C47E1DFCE}"/>
          </ac:cxnSpMkLst>
        </pc:cxnChg>
        <pc:cxnChg chg="add mod">
          <ac:chgData name="Anjali Jaisinghani" userId="cad40627-4d93-4324-b144-18a7e046d981" providerId="ADAL" clId="{33619D88-3F50-494B-83B9-988F8B17CC2F}" dt="2023-03-20T08:22:29.633" v="7376" actId="1076"/>
          <ac:cxnSpMkLst>
            <pc:docMk/>
            <pc:sldMk cId="2294442288" sldId="2147469704"/>
            <ac:cxnSpMk id="47" creationId="{B9001E1A-85E4-3315-0DEA-DBF0D3028314}"/>
          </ac:cxnSpMkLst>
        </pc:cxnChg>
        <pc:cxnChg chg="mod">
          <ac:chgData name="Anjali Jaisinghani" userId="cad40627-4d93-4324-b144-18a7e046d981" providerId="ADAL" clId="{33619D88-3F50-494B-83B9-988F8B17CC2F}" dt="2023-03-20T08:09:59.850" v="7267" actId="14100"/>
          <ac:cxnSpMkLst>
            <pc:docMk/>
            <pc:sldMk cId="2294442288" sldId="2147469704"/>
            <ac:cxnSpMk id="48" creationId="{652351F1-676C-474C-B260-36EC42FF2E03}"/>
          </ac:cxnSpMkLst>
        </pc:cxnChg>
        <pc:cxnChg chg="add mod">
          <ac:chgData name="Anjali Jaisinghani" userId="cad40627-4d93-4324-b144-18a7e046d981" providerId="ADAL" clId="{33619D88-3F50-494B-83B9-988F8B17CC2F}" dt="2023-03-20T08:26:17.164" v="7379" actId="1076"/>
          <ac:cxnSpMkLst>
            <pc:docMk/>
            <pc:sldMk cId="2294442288" sldId="2147469704"/>
            <ac:cxnSpMk id="55" creationId="{25127894-C544-B1CE-0DB7-817C8FDE79B7}"/>
          </ac:cxnSpMkLst>
        </pc:cxnChg>
        <pc:cxnChg chg="add mod">
          <ac:chgData name="Anjali Jaisinghani" userId="cad40627-4d93-4324-b144-18a7e046d981" providerId="ADAL" clId="{33619D88-3F50-494B-83B9-988F8B17CC2F}" dt="2023-03-20T07:55:54.858" v="7020" actId="14100"/>
          <ac:cxnSpMkLst>
            <pc:docMk/>
            <pc:sldMk cId="2294442288" sldId="2147469704"/>
            <ac:cxnSpMk id="58" creationId="{D4BF1EE4-2238-8737-06D8-65CFC009FC59}"/>
          </ac:cxnSpMkLst>
        </pc:cxnChg>
        <pc:cxnChg chg="add del mod">
          <ac:chgData name="Anjali Jaisinghani" userId="cad40627-4d93-4324-b144-18a7e046d981" providerId="ADAL" clId="{33619D88-3F50-494B-83B9-988F8B17CC2F}" dt="2023-03-20T07:58:06.255" v="7044" actId="478"/>
          <ac:cxnSpMkLst>
            <pc:docMk/>
            <pc:sldMk cId="2294442288" sldId="2147469704"/>
            <ac:cxnSpMk id="75" creationId="{689E8E9F-60E2-637C-BC7B-A125A5C2F50F}"/>
          </ac:cxnSpMkLst>
        </pc:cxnChg>
        <pc:cxnChg chg="add mod">
          <ac:chgData name="Anjali Jaisinghani" userId="cad40627-4d93-4324-b144-18a7e046d981" providerId="ADAL" clId="{33619D88-3F50-494B-83B9-988F8B17CC2F}" dt="2023-03-21T04:41:12.181" v="9175" actId="1076"/>
          <ac:cxnSpMkLst>
            <pc:docMk/>
            <pc:sldMk cId="2294442288" sldId="2147469704"/>
            <ac:cxnSpMk id="111" creationId="{F17292DF-222C-3F23-333A-B26BC2EC82F0}"/>
          </ac:cxnSpMkLst>
        </pc:cxnChg>
        <pc:cxnChg chg="add mod">
          <ac:chgData name="Anjali Jaisinghani" userId="cad40627-4d93-4324-b144-18a7e046d981" providerId="ADAL" clId="{33619D88-3F50-494B-83B9-988F8B17CC2F}" dt="2023-03-21T04:41:12.181" v="9175" actId="1076"/>
          <ac:cxnSpMkLst>
            <pc:docMk/>
            <pc:sldMk cId="2294442288" sldId="2147469704"/>
            <ac:cxnSpMk id="114" creationId="{27E6DB7E-0673-D747-6356-51BC84522526}"/>
          </ac:cxnSpMkLst>
        </pc:cxnChg>
        <pc:cxnChg chg="mod">
          <ac:chgData name="Anjali Jaisinghani" userId="cad40627-4d93-4324-b144-18a7e046d981" providerId="ADAL" clId="{33619D88-3F50-494B-83B9-988F8B17CC2F}" dt="2023-03-20T08:11:50.185" v="7372" actId="14100"/>
          <ac:cxnSpMkLst>
            <pc:docMk/>
            <pc:sldMk cId="2294442288" sldId="2147469704"/>
            <ac:cxnSpMk id="115" creationId="{C620AFA0-051B-9BAD-3AD7-DF1C56A7EB56}"/>
          </ac:cxnSpMkLst>
        </pc:cxnChg>
        <pc:cxnChg chg="del mod">
          <ac:chgData name="Anjali Jaisinghani" userId="cad40627-4d93-4324-b144-18a7e046d981" providerId="ADAL" clId="{33619D88-3F50-494B-83B9-988F8B17CC2F}" dt="2023-03-17T09:15:13.288" v="2302" actId="478"/>
          <ac:cxnSpMkLst>
            <pc:docMk/>
            <pc:sldMk cId="2294442288" sldId="2147469704"/>
            <ac:cxnSpMk id="120" creationId="{77D67441-D3E0-B824-78A2-B9899336B979}"/>
          </ac:cxnSpMkLst>
        </pc:cxnChg>
        <pc:cxnChg chg="del mod">
          <ac:chgData name="Anjali Jaisinghani" userId="cad40627-4d93-4324-b144-18a7e046d981" providerId="ADAL" clId="{33619D88-3F50-494B-83B9-988F8B17CC2F}" dt="2023-03-20T07:51:24.266" v="6971" actId="478"/>
          <ac:cxnSpMkLst>
            <pc:docMk/>
            <pc:sldMk cId="2294442288" sldId="2147469704"/>
            <ac:cxnSpMk id="187" creationId="{BE232C5C-D291-3E7E-6E81-1C298682A2E4}"/>
          </ac:cxnSpMkLst>
        </pc:cxnChg>
        <pc:cxnChg chg="del mod">
          <ac:chgData name="Anjali Jaisinghani" userId="cad40627-4d93-4324-b144-18a7e046d981" providerId="ADAL" clId="{33619D88-3F50-494B-83B9-988F8B17CC2F}" dt="2023-03-20T07:51:22.151" v="6970" actId="478"/>
          <ac:cxnSpMkLst>
            <pc:docMk/>
            <pc:sldMk cId="2294442288" sldId="2147469704"/>
            <ac:cxnSpMk id="192" creationId="{E57F8346-3660-93AF-5536-6D4B3510CFBF}"/>
          </ac:cxnSpMkLst>
        </pc:cxnChg>
        <pc:cxnChg chg="del mod">
          <ac:chgData name="Anjali Jaisinghani" userId="cad40627-4d93-4324-b144-18a7e046d981" providerId="ADAL" clId="{33619D88-3F50-494B-83B9-988F8B17CC2F}" dt="2023-03-20T05:48:14.794" v="6027" actId="478"/>
          <ac:cxnSpMkLst>
            <pc:docMk/>
            <pc:sldMk cId="2294442288" sldId="2147469704"/>
            <ac:cxnSpMk id="230" creationId="{A8AD6034-3C22-CBAE-FBFD-C17B4228C157}"/>
          </ac:cxnSpMkLst>
        </pc:cxnChg>
      </pc:sldChg>
      <pc:sldChg chg="addSp delSp modSp add mod modNotesTx">
        <pc:chgData name="Anjali Jaisinghani" userId="cad40627-4d93-4324-b144-18a7e046d981" providerId="ADAL" clId="{33619D88-3F50-494B-83B9-988F8B17CC2F}" dt="2023-03-20T09:55:13.168" v="8235" actId="1076"/>
        <pc:sldMkLst>
          <pc:docMk/>
          <pc:sldMk cId="3191430499" sldId="2147469706"/>
        </pc:sldMkLst>
        <pc:spChg chg="mod">
          <ac:chgData name="Anjali Jaisinghani" userId="cad40627-4d93-4324-b144-18a7e046d981" providerId="ADAL" clId="{33619D88-3F50-494B-83B9-988F8B17CC2F}" dt="2023-03-20T08:01:54.906" v="7101" actId="1076"/>
          <ac:spMkLst>
            <pc:docMk/>
            <pc:sldMk cId="3191430499" sldId="2147469706"/>
            <ac:spMk id="2" creationId="{86753400-EB60-12C3-44D9-EC425407BD2C}"/>
          </ac:spMkLst>
        </pc:spChg>
        <pc:spChg chg="mod">
          <ac:chgData name="Anjali Jaisinghani" userId="cad40627-4d93-4324-b144-18a7e046d981" providerId="ADAL" clId="{33619D88-3F50-494B-83B9-988F8B17CC2F}" dt="2023-03-20T08:01:54.906" v="7101" actId="1076"/>
          <ac:spMkLst>
            <pc:docMk/>
            <pc:sldMk cId="3191430499" sldId="2147469706"/>
            <ac:spMk id="4" creationId="{73244E55-131F-4F11-7038-2B256CAD74F1}"/>
          </ac:spMkLst>
        </pc:spChg>
        <pc:spChg chg="mod">
          <ac:chgData name="Anjali Jaisinghani" userId="cad40627-4d93-4324-b144-18a7e046d981" providerId="ADAL" clId="{33619D88-3F50-494B-83B9-988F8B17CC2F}" dt="2023-03-20T04:45:34.118" v="4626" actId="14100"/>
          <ac:spMkLst>
            <pc:docMk/>
            <pc:sldMk cId="3191430499" sldId="2147469706"/>
            <ac:spMk id="9" creationId="{AC6AB9E0-9DEF-BDE2-C02D-38B55EAFF378}"/>
          </ac:spMkLst>
        </pc:spChg>
        <pc:spChg chg="mod">
          <ac:chgData name="Anjali Jaisinghani" userId="cad40627-4d93-4324-b144-18a7e046d981" providerId="ADAL" clId="{33619D88-3F50-494B-83B9-988F8B17CC2F}" dt="2023-03-20T04:44:38.986" v="4611"/>
          <ac:spMkLst>
            <pc:docMk/>
            <pc:sldMk cId="3191430499" sldId="2147469706"/>
            <ac:spMk id="11" creationId="{E9699EF9-BECB-27AD-54F9-DAEE65520002}"/>
          </ac:spMkLst>
        </pc:spChg>
        <pc:spChg chg="add mod">
          <ac:chgData name="Anjali Jaisinghani" userId="cad40627-4d93-4324-b144-18a7e046d981" providerId="ADAL" clId="{33619D88-3F50-494B-83B9-988F8B17CC2F}" dt="2023-03-17T06:32:37.333" v="530" actId="571"/>
          <ac:spMkLst>
            <pc:docMk/>
            <pc:sldMk cId="3191430499" sldId="2147469706"/>
            <ac:spMk id="12" creationId="{33771E82-2039-8C01-B566-161F73ABAA22}"/>
          </ac:spMkLst>
        </pc:spChg>
        <pc:spChg chg="mod">
          <ac:chgData name="Anjali Jaisinghani" userId="cad40627-4d93-4324-b144-18a7e046d981" providerId="ADAL" clId="{33619D88-3F50-494B-83B9-988F8B17CC2F}" dt="2023-03-20T04:45:27.395" v="4625" actId="20577"/>
          <ac:spMkLst>
            <pc:docMk/>
            <pc:sldMk cId="3191430499" sldId="2147469706"/>
            <ac:spMk id="12" creationId="{79600D77-4592-5076-EE07-098BA0FA8DFF}"/>
          </ac:spMkLst>
        </pc:spChg>
        <pc:spChg chg="mod">
          <ac:chgData name="Anjali Jaisinghani" userId="cad40627-4d93-4324-b144-18a7e046d981" providerId="ADAL" clId="{33619D88-3F50-494B-83B9-988F8B17CC2F}" dt="2023-03-17T06:32:37.333" v="530" actId="571"/>
          <ac:spMkLst>
            <pc:docMk/>
            <pc:sldMk cId="3191430499" sldId="2147469706"/>
            <ac:spMk id="14" creationId="{0F1CC8BD-8475-5794-D7D7-4187EBE79ED0}"/>
          </ac:spMkLst>
        </pc:spChg>
        <pc:spChg chg="del mod">
          <ac:chgData name="Anjali Jaisinghani" userId="cad40627-4d93-4324-b144-18a7e046d981" providerId="ADAL" clId="{33619D88-3F50-494B-83B9-988F8B17CC2F}" dt="2023-03-17T06:38:37.153" v="614" actId="478"/>
          <ac:spMkLst>
            <pc:docMk/>
            <pc:sldMk cId="3191430499" sldId="2147469706"/>
            <ac:spMk id="15" creationId="{4CBF1AE0-2DF0-EE59-43BA-9ECE564F4EEB}"/>
          </ac:spMkLst>
        </pc:spChg>
        <pc:spChg chg="mod">
          <ac:chgData name="Anjali Jaisinghani" userId="cad40627-4d93-4324-b144-18a7e046d981" providerId="ADAL" clId="{33619D88-3F50-494B-83B9-988F8B17CC2F}" dt="2023-03-17T06:32:37.333" v="530" actId="571"/>
          <ac:spMkLst>
            <pc:docMk/>
            <pc:sldMk cId="3191430499" sldId="2147469706"/>
            <ac:spMk id="16" creationId="{C1B2B715-30FA-84B1-363D-B55500E9B334}"/>
          </ac:spMkLst>
        </pc:spChg>
        <pc:spChg chg="mod">
          <ac:chgData name="Anjali Jaisinghani" userId="cad40627-4d93-4324-b144-18a7e046d981" providerId="ADAL" clId="{33619D88-3F50-494B-83B9-988F8B17CC2F}" dt="2023-03-17T06:32:37.333" v="530" actId="571"/>
          <ac:spMkLst>
            <pc:docMk/>
            <pc:sldMk cId="3191430499" sldId="2147469706"/>
            <ac:spMk id="18" creationId="{52FD8C96-01DC-B3CF-13DC-E09B921273D1}"/>
          </ac:spMkLst>
        </pc:spChg>
        <pc:spChg chg="mod">
          <ac:chgData name="Anjali Jaisinghani" userId="cad40627-4d93-4324-b144-18a7e046d981" providerId="ADAL" clId="{33619D88-3F50-494B-83B9-988F8B17CC2F}" dt="2023-03-17T06:32:37.333" v="530" actId="571"/>
          <ac:spMkLst>
            <pc:docMk/>
            <pc:sldMk cId="3191430499" sldId="2147469706"/>
            <ac:spMk id="19" creationId="{7A14C7B5-47F1-E4B7-7F32-4930C60842E2}"/>
          </ac:spMkLst>
        </pc:spChg>
        <pc:spChg chg="mod">
          <ac:chgData name="Anjali Jaisinghani" userId="cad40627-4d93-4324-b144-18a7e046d981" providerId="ADAL" clId="{33619D88-3F50-494B-83B9-988F8B17CC2F}" dt="2023-03-17T06:32:37.333" v="530" actId="571"/>
          <ac:spMkLst>
            <pc:docMk/>
            <pc:sldMk cId="3191430499" sldId="2147469706"/>
            <ac:spMk id="21" creationId="{A751CAC6-60B2-2C8D-4A5D-9001CF82E447}"/>
          </ac:spMkLst>
        </pc:spChg>
        <pc:spChg chg="mod">
          <ac:chgData name="Anjali Jaisinghani" userId="cad40627-4d93-4324-b144-18a7e046d981" providerId="ADAL" clId="{33619D88-3F50-494B-83B9-988F8B17CC2F}" dt="2023-03-20T08:01:54.906" v="7101" actId="1076"/>
          <ac:spMkLst>
            <pc:docMk/>
            <pc:sldMk cId="3191430499" sldId="2147469706"/>
            <ac:spMk id="22" creationId="{14BD2421-F34C-7BD3-0AE7-6EF29DC4A460}"/>
          </ac:spMkLst>
        </pc:spChg>
        <pc:spChg chg="mod">
          <ac:chgData name="Anjali Jaisinghani" userId="cad40627-4d93-4324-b144-18a7e046d981" providerId="ADAL" clId="{33619D88-3F50-494B-83B9-988F8B17CC2F}" dt="2023-03-17T06:32:37.333" v="530" actId="571"/>
          <ac:spMkLst>
            <pc:docMk/>
            <pc:sldMk cId="3191430499" sldId="2147469706"/>
            <ac:spMk id="23" creationId="{96423C57-EE6A-9214-F187-FADB4A8C0EB0}"/>
          </ac:spMkLst>
        </pc:spChg>
        <pc:spChg chg="mod">
          <ac:chgData name="Anjali Jaisinghani" userId="cad40627-4d93-4324-b144-18a7e046d981" providerId="ADAL" clId="{33619D88-3F50-494B-83B9-988F8B17CC2F}" dt="2023-03-17T06:32:37.333" v="530" actId="571"/>
          <ac:spMkLst>
            <pc:docMk/>
            <pc:sldMk cId="3191430499" sldId="2147469706"/>
            <ac:spMk id="25" creationId="{22619729-2773-6439-EB4F-E6D059509F6C}"/>
          </ac:spMkLst>
        </pc:spChg>
        <pc:spChg chg="mod">
          <ac:chgData name="Anjali Jaisinghani" userId="cad40627-4d93-4324-b144-18a7e046d981" providerId="ADAL" clId="{33619D88-3F50-494B-83B9-988F8B17CC2F}" dt="2023-03-17T06:32:37.333" v="530" actId="571"/>
          <ac:spMkLst>
            <pc:docMk/>
            <pc:sldMk cId="3191430499" sldId="2147469706"/>
            <ac:spMk id="26" creationId="{0A7ADD15-0681-792E-B54E-161F2B4F2597}"/>
          </ac:spMkLst>
        </pc:spChg>
        <pc:spChg chg="mod">
          <ac:chgData name="Anjali Jaisinghani" userId="cad40627-4d93-4324-b144-18a7e046d981" providerId="ADAL" clId="{33619D88-3F50-494B-83B9-988F8B17CC2F}" dt="2023-03-17T06:32:37.333" v="530" actId="571"/>
          <ac:spMkLst>
            <pc:docMk/>
            <pc:sldMk cId="3191430499" sldId="2147469706"/>
            <ac:spMk id="28" creationId="{3314C39A-C247-07B3-C8CE-A4502B446D84}"/>
          </ac:spMkLst>
        </pc:spChg>
        <pc:spChg chg="mod">
          <ac:chgData name="Anjali Jaisinghani" userId="cad40627-4d93-4324-b144-18a7e046d981" providerId="ADAL" clId="{33619D88-3F50-494B-83B9-988F8B17CC2F}" dt="2023-03-17T06:32:37.333" v="530" actId="571"/>
          <ac:spMkLst>
            <pc:docMk/>
            <pc:sldMk cId="3191430499" sldId="2147469706"/>
            <ac:spMk id="30" creationId="{B57BF50C-4497-DAB7-D054-0F07B2C916CD}"/>
          </ac:spMkLst>
        </pc:spChg>
        <pc:spChg chg="mod">
          <ac:chgData name="Anjali Jaisinghani" userId="cad40627-4d93-4324-b144-18a7e046d981" providerId="ADAL" clId="{33619D88-3F50-494B-83B9-988F8B17CC2F}" dt="2023-03-17T06:32:37.333" v="530" actId="571"/>
          <ac:spMkLst>
            <pc:docMk/>
            <pc:sldMk cId="3191430499" sldId="2147469706"/>
            <ac:spMk id="31" creationId="{5190010E-B0E8-5A05-B96B-472444FECF47}"/>
          </ac:spMkLst>
        </pc:spChg>
        <pc:spChg chg="mod">
          <ac:chgData name="Anjali Jaisinghani" userId="cad40627-4d93-4324-b144-18a7e046d981" providerId="ADAL" clId="{33619D88-3F50-494B-83B9-988F8B17CC2F}" dt="2023-03-17T06:32:37.333" v="530" actId="571"/>
          <ac:spMkLst>
            <pc:docMk/>
            <pc:sldMk cId="3191430499" sldId="2147469706"/>
            <ac:spMk id="33" creationId="{11FF623C-CB98-86A6-3F47-D76C8F886B72}"/>
          </ac:spMkLst>
        </pc:spChg>
        <pc:spChg chg="mod">
          <ac:chgData name="Anjali Jaisinghani" userId="cad40627-4d93-4324-b144-18a7e046d981" providerId="ADAL" clId="{33619D88-3F50-494B-83B9-988F8B17CC2F}" dt="2023-03-17T06:32:37.333" v="530" actId="571"/>
          <ac:spMkLst>
            <pc:docMk/>
            <pc:sldMk cId="3191430499" sldId="2147469706"/>
            <ac:spMk id="35" creationId="{6E65BC7E-714A-F22E-3290-FEFDC17C029B}"/>
          </ac:spMkLst>
        </pc:spChg>
        <pc:spChg chg="mod">
          <ac:chgData name="Anjali Jaisinghani" userId="cad40627-4d93-4324-b144-18a7e046d981" providerId="ADAL" clId="{33619D88-3F50-494B-83B9-988F8B17CC2F}" dt="2023-03-17T06:32:37.333" v="530" actId="571"/>
          <ac:spMkLst>
            <pc:docMk/>
            <pc:sldMk cId="3191430499" sldId="2147469706"/>
            <ac:spMk id="36" creationId="{D27ECAAB-864E-6546-77A3-4D78EAA17FB9}"/>
          </ac:spMkLst>
        </pc:spChg>
        <pc:spChg chg="mod">
          <ac:chgData name="Anjali Jaisinghani" userId="cad40627-4d93-4324-b144-18a7e046d981" providerId="ADAL" clId="{33619D88-3F50-494B-83B9-988F8B17CC2F}" dt="2023-03-17T06:32:37.333" v="530" actId="571"/>
          <ac:spMkLst>
            <pc:docMk/>
            <pc:sldMk cId="3191430499" sldId="2147469706"/>
            <ac:spMk id="38" creationId="{525CD01F-B1C3-1132-5E22-F0090D2C2F63}"/>
          </ac:spMkLst>
        </pc:spChg>
        <pc:spChg chg="mod">
          <ac:chgData name="Anjali Jaisinghani" userId="cad40627-4d93-4324-b144-18a7e046d981" providerId="ADAL" clId="{33619D88-3F50-494B-83B9-988F8B17CC2F}" dt="2023-03-17T06:32:37.333" v="530" actId="571"/>
          <ac:spMkLst>
            <pc:docMk/>
            <pc:sldMk cId="3191430499" sldId="2147469706"/>
            <ac:spMk id="40" creationId="{F5CF3EDB-3540-37DE-E896-41F8216A3792}"/>
          </ac:spMkLst>
        </pc:spChg>
        <pc:spChg chg="mod">
          <ac:chgData name="Anjali Jaisinghani" userId="cad40627-4d93-4324-b144-18a7e046d981" providerId="ADAL" clId="{33619D88-3F50-494B-83B9-988F8B17CC2F}" dt="2023-03-17T06:32:37.333" v="530" actId="571"/>
          <ac:spMkLst>
            <pc:docMk/>
            <pc:sldMk cId="3191430499" sldId="2147469706"/>
            <ac:spMk id="41" creationId="{83E80705-BDFC-B04B-BE40-86434042CB07}"/>
          </ac:spMkLst>
        </pc:spChg>
        <pc:spChg chg="del mod">
          <ac:chgData name="Anjali Jaisinghani" userId="cad40627-4d93-4324-b144-18a7e046d981" providerId="ADAL" clId="{33619D88-3F50-494B-83B9-988F8B17CC2F}" dt="2023-03-20T08:00:07.828" v="7089" actId="478"/>
          <ac:spMkLst>
            <pc:docMk/>
            <pc:sldMk cId="3191430499" sldId="2147469706"/>
            <ac:spMk id="42" creationId="{3B213C18-24BD-1838-5BBC-87298DD9AC5C}"/>
          </ac:spMkLst>
        </pc:spChg>
        <pc:spChg chg="mod">
          <ac:chgData name="Anjali Jaisinghani" userId="cad40627-4d93-4324-b144-18a7e046d981" providerId="ADAL" clId="{33619D88-3F50-494B-83B9-988F8B17CC2F}" dt="2023-03-17T06:32:37.333" v="530" actId="571"/>
          <ac:spMkLst>
            <pc:docMk/>
            <pc:sldMk cId="3191430499" sldId="2147469706"/>
            <ac:spMk id="44" creationId="{F9168A52-EA07-D3B2-04A6-45AAA5CEB240}"/>
          </ac:spMkLst>
        </pc:spChg>
        <pc:spChg chg="mod">
          <ac:chgData name="Anjali Jaisinghani" userId="cad40627-4d93-4324-b144-18a7e046d981" providerId="ADAL" clId="{33619D88-3F50-494B-83B9-988F8B17CC2F}" dt="2023-03-17T06:32:37.333" v="530" actId="571"/>
          <ac:spMkLst>
            <pc:docMk/>
            <pc:sldMk cId="3191430499" sldId="2147469706"/>
            <ac:spMk id="46" creationId="{FC08293E-7368-4301-017D-BBDD6DA2BADF}"/>
          </ac:spMkLst>
        </pc:spChg>
        <pc:spChg chg="mod">
          <ac:chgData name="Anjali Jaisinghani" userId="cad40627-4d93-4324-b144-18a7e046d981" providerId="ADAL" clId="{33619D88-3F50-494B-83B9-988F8B17CC2F}" dt="2023-03-17T06:32:37.333" v="530" actId="571"/>
          <ac:spMkLst>
            <pc:docMk/>
            <pc:sldMk cId="3191430499" sldId="2147469706"/>
            <ac:spMk id="47" creationId="{D8008A9C-FFB3-3623-4F18-2BB2641B16FC}"/>
          </ac:spMkLst>
        </pc:spChg>
        <pc:spChg chg="mod">
          <ac:chgData name="Anjali Jaisinghani" userId="cad40627-4d93-4324-b144-18a7e046d981" providerId="ADAL" clId="{33619D88-3F50-494B-83B9-988F8B17CC2F}" dt="2023-03-17T06:32:37.333" v="530" actId="571"/>
          <ac:spMkLst>
            <pc:docMk/>
            <pc:sldMk cId="3191430499" sldId="2147469706"/>
            <ac:spMk id="49" creationId="{B1C4C5A3-CFDA-6930-DDAD-7966DD16DDF6}"/>
          </ac:spMkLst>
        </pc:spChg>
        <pc:spChg chg="mod">
          <ac:chgData name="Anjali Jaisinghani" userId="cad40627-4d93-4324-b144-18a7e046d981" providerId="ADAL" clId="{33619D88-3F50-494B-83B9-988F8B17CC2F}" dt="2023-03-17T06:32:37.333" v="530" actId="571"/>
          <ac:spMkLst>
            <pc:docMk/>
            <pc:sldMk cId="3191430499" sldId="2147469706"/>
            <ac:spMk id="51" creationId="{ABCAB9D6-E6BF-AEC2-9690-3095A1996EC6}"/>
          </ac:spMkLst>
        </pc:spChg>
        <pc:spChg chg="mod">
          <ac:chgData name="Anjali Jaisinghani" userId="cad40627-4d93-4324-b144-18a7e046d981" providerId="ADAL" clId="{33619D88-3F50-494B-83B9-988F8B17CC2F}" dt="2023-03-17T06:32:37.333" v="530" actId="571"/>
          <ac:spMkLst>
            <pc:docMk/>
            <pc:sldMk cId="3191430499" sldId="2147469706"/>
            <ac:spMk id="52" creationId="{E2339B92-BB48-227B-C6EF-588F9CFD637F}"/>
          </ac:spMkLst>
        </pc:spChg>
        <pc:spChg chg="add mod">
          <ac:chgData name="Anjali Jaisinghani" userId="cad40627-4d93-4324-b144-18a7e046d981" providerId="ADAL" clId="{33619D88-3F50-494B-83B9-988F8B17CC2F}" dt="2023-03-17T06:32:37.333" v="530" actId="571"/>
          <ac:spMkLst>
            <pc:docMk/>
            <pc:sldMk cId="3191430499" sldId="2147469706"/>
            <ac:spMk id="53" creationId="{F44F20A5-9131-6664-46EB-3729C873F7E0}"/>
          </ac:spMkLst>
        </pc:spChg>
        <pc:spChg chg="add mod">
          <ac:chgData name="Anjali Jaisinghani" userId="cad40627-4d93-4324-b144-18a7e046d981" providerId="ADAL" clId="{33619D88-3F50-494B-83B9-988F8B17CC2F}" dt="2023-03-17T06:39:14.528" v="619" actId="1076"/>
          <ac:spMkLst>
            <pc:docMk/>
            <pc:sldMk cId="3191430499" sldId="2147469706"/>
            <ac:spMk id="60" creationId="{0A3A641E-0A77-D5E7-3F0B-34F7EA44CBD1}"/>
          </ac:spMkLst>
        </pc:spChg>
        <pc:spChg chg="mod">
          <ac:chgData name="Anjali Jaisinghani" userId="cad40627-4d93-4324-b144-18a7e046d981" providerId="ADAL" clId="{33619D88-3F50-494B-83B9-988F8B17CC2F}" dt="2023-03-20T08:01:54.906" v="7101" actId="1076"/>
          <ac:spMkLst>
            <pc:docMk/>
            <pc:sldMk cId="3191430499" sldId="2147469706"/>
            <ac:spMk id="61" creationId="{6DBCE80A-1F91-AEA8-6A70-8DF9822B8395}"/>
          </ac:spMkLst>
        </pc:spChg>
        <pc:spChg chg="del mod">
          <ac:chgData name="Anjali Jaisinghani" userId="cad40627-4d93-4324-b144-18a7e046d981" providerId="ADAL" clId="{33619D88-3F50-494B-83B9-988F8B17CC2F}" dt="2023-03-20T04:47:51.724" v="4652" actId="478"/>
          <ac:spMkLst>
            <pc:docMk/>
            <pc:sldMk cId="3191430499" sldId="2147469706"/>
            <ac:spMk id="62" creationId="{2E6A8246-6649-D766-41C2-C0DB3D6BD9D3}"/>
          </ac:spMkLst>
        </pc:spChg>
        <pc:spChg chg="mod">
          <ac:chgData name="Anjali Jaisinghani" userId="cad40627-4d93-4324-b144-18a7e046d981" providerId="ADAL" clId="{33619D88-3F50-494B-83B9-988F8B17CC2F}" dt="2023-03-20T08:01:54.906" v="7101" actId="1076"/>
          <ac:spMkLst>
            <pc:docMk/>
            <pc:sldMk cId="3191430499" sldId="2147469706"/>
            <ac:spMk id="63" creationId="{4FE20A6D-E844-CD48-8248-0013F5161537}"/>
          </ac:spMkLst>
        </pc:spChg>
        <pc:spChg chg="mod">
          <ac:chgData name="Anjali Jaisinghani" userId="cad40627-4d93-4324-b144-18a7e046d981" providerId="ADAL" clId="{33619D88-3F50-494B-83B9-988F8B17CC2F}" dt="2023-03-20T08:01:54.906" v="7101" actId="1076"/>
          <ac:spMkLst>
            <pc:docMk/>
            <pc:sldMk cId="3191430499" sldId="2147469706"/>
            <ac:spMk id="64" creationId="{B3DAF05D-0604-572C-38CB-B50EDB64765E}"/>
          </ac:spMkLst>
        </pc:spChg>
        <pc:spChg chg="mod">
          <ac:chgData name="Anjali Jaisinghani" userId="cad40627-4d93-4324-b144-18a7e046d981" providerId="ADAL" clId="{33619D88-3F50-494B-83B9-988F8B17CC2F}" dt="2023-03-17T06:39:34.494" v="622"/>
          <ac:spMkLst>
            <pc:docMk/>
            <pc:sldMk cId="3191430499" sldId="2147469706"/>
            <ac:spMk id="65" creationId="{3BADB693-9A0C-DDA7-5F10-166534727A70}"/>
          </ac:spMkLst>
        </pc:spChg>
        <pc:spChg chg="mod">
          <ac:chgData name="Anjali Jaisinghani" userId="cad40627-4d93-4324-b144-18a7e046d981" providerId="ADAL" clId="{33619D88-3F50-494B-83B9-988F8B17CC2F}" dt="2023-03-20T08:01:54.906" v="7101" actId="1076"/>
          <ac:spMkLst>
            <pc:docMk/>
            <pc:sldMk cId="3191430499" sldId="2147469706"/>
            <ac:spMk id="66" creationId="{848FC379-6AE4-7636-A1E3-BB44CCD8826C}"/>
          </ac:spMkLst>
        </pc:spChg>
        <pc:spChg chg="mod">
          <ac:chgData name="Anjali Jaisinghani" userId="cad40627-4d93-4324-b144-18a7e046d981" providerId="ADAL" clId="{33619D88-3F50-494B-83B9-988F8B17CC2F}" dt="2023-03-17T06:39:38.079" v="631" actId="20577"/>
          <ac:spMkLst>
            <pc:docMk/>
            <pc:sldMk cId="3191430499" sldId="2147469706"/>
            <ac:spMk id="67" creationId="{7A6F3266-FBBE-049D-33DD-67C55AD8923D}"/>
          </ac:spMkLst>
        </pc:spChg>
        <pc:spChg chg="mod topLvl">
          <ac:chgData name="Anjali Jaisinghani" userId="cad40627-4d93-4324-b144-18a7e046d981" providerId="ADAL" clId="{33619D88-3F50-494B-83B9-988F8B17CC2F}" dt="2023-03-17T07:20:36.209" v="871" actId="165"/>
          <ac:spMkLst>
            <pc:docMk/>
            <pc:sldMk cId="3191430499" sldId="2147469706"/>
            <ac:spMk id="69" creationId="{63346AB6-110D-9137-41B0-FA3B36CE5483}"/>
          </ac:spMkLst>
        </pc:spChg>
        <pc:spChg chg="mod topLvl">
          <ac:chgData name="Anjali Jaisinghani" userId="cad40627-4d93-4324-b144-18a7e046d981" providerId="ADAL" clId="{33619D88-3F50-494B-83B9-988F8B17CC2F}" dt="2023-03-20T04:53:30.384" v="4735" actId="20577"/>
          <ac:spMkLst>
            <pc:docMk/>
            <pc:sldMk cId="3191430499" sldId="2147469706"/>
            <ac:spMk id="70" creationId="{1845053E-CC76-B5E1-AFFA-5613C2603DB3}"/>
          </ac:spMkLst>
        </pc:spChg>
        <pc:spChg chg="mod">
          <ac:chgData name="Anjali Jaisinghani" userId="cad40627-4d93-4324-b144-18a7e046d981" providerId="ADAL" clId="{33619D88-3F50-494B-83B9-988F8B17CC2F}" dt="2023-03-17T06:39:34.872" v="624"/>
          <ac:spMkLst>
            <pc:docMk/>
            <pc:sldMk cId="3191430499" sldId="2147469706"/>
            <ac:spMk id="72" creationId="{E897B905-775D-66A4-1364-14B75A7B6A9F}"/>
          </ac:spMkLst>
        </pc:spChg>
        <pc:spChg chg="mod">
          <ac:chgData name="Anjali Jaisinghani" userId="cad40627-4d93-4324-b144-18a7e046d981" providerId="ADAL" clId="{33619D88-3F50-494B-83B9-988F8B17CC2F}" dt="2023-03-17T06:39:34.872" v="624"/>
          <ac:spMkLst>
            <pc:docMk/>
            <pc:sldMk cId="3191430499" sldId="2147469706"/>
            <ac:spMk id="73" creationId="{D0BEFB88-F560-D081-7AAB-D3DFC0153B4D}"/>
          </ac:spMkLst>
        </pc:spChg>
        <pc:spChg chg="mod">
          <ac:chgData name="Anjali Jaisinghani" userId="cad40627-4d93-4324-b144-18a7e046d981" providerId="ADAL" clId="{33619D88-3F50-494B-83B9-988F8B17CC2F}" dt="2023-03-17T06:39:35.082" v="625"/>
          <ac:spMkLst>
            <pc:docMk/>
            <pc:sldMk cId="3191430499" sldId="2147469706"/>
            <ac:spMk id="78" creationId="{68220554-9B9A-C98F-D2B3-8477A40D8B89}"/>
          </ac:spMkLst>
        </pc:spChg>
        <pc:spChg chg="mod">
          <ac:chgData name="Anjali Jaisinghani" userId="cad40627-4d93-4324-b144-18a7e046d981" providerId="ADAL" clId="{33619D88-3F50-494B-83B9-988F8B17CC2F}" dt="2023-03-17T06:39:35.082" v="625"/>
          <ac:spMkLst>
            <pc:docMk/>
            <pc:sldMk cId="3191430499" sldId="2147469706"/>
            <ac:spMk id="79" creationId="{5E33B3BC-D7D7-3423-529A-75548F81D154}"/>
          </ac:spMkLst>
        </pc:spChg>
        <pc:spChg chg="mod">
          <ac:chgData name="Anjali Jaisinghani" userId="cad40627-4d93-4324-b144-18a7e046d981" providerId="ADAL" clId="{33619D88-3F50-494B-83B9-988F8B17CC2F}" dt="2023-03-17T06:39:35.226" v="626"/>
          <ac:spMkLst>
            <pc:docMk/>
            <pc:sldMk cId="3191430499" sldId="2147469706"/>
            <ac:spMk id="81" creationId="{792A6508-11F0-0C24-8C18-DBA837201A4C}"/>
          </ac:spMkLst>
        </pc:spChg>
        <pc:spChg chg="mod">
          <ac:chgData name="Anjali Jaisinghani" userId="cad40627-4d93-4324-b144-18a7e046d981" providerId="ADAL" clId="{33619D88-3F50-494B-83B9-988F8B17CC2F}" dt="2023-03-17T06:39:35.226" v="626"/>
          <ac:spMkLst>
            <pc:docMk/>
            <pc:sldMk cId="3191430499" sldId="2147469706"/>
            <ac:spMk id="84" creationId="{84B1A58F-4EBA-2E20-34C0-2A441FC609F8}"/>
          </ac:spMkLst>
        </pc:spChg>
        <pc:spChg chg="mod">
          <ac:chgData name="Anjali Jaisinghani" userId="cad40627-4d93-4324-b144-18a7e046d981" providerId="ADAL" clId="{33619D88-3F50-494B-83B9-988F8B17CC2F}" dt="2023-03-17T06:39:35.420" v="627"/>
          <ac:spMkLst>
            <pc:docMk/>
            <pc:sldMk cId="3191430499" sldId="2147469706"/>
            <ac:spMk id="86" creationId="{4AA04016-21EF-992E-D4F1-CACC485A1FA5}"/>
          </ac:spMkLst>
        </pc:spChg>
        <pc:spChg chg="mod">
          <ac:chgData name="Anjali Jaisinghani" userId="cad40627-4d93-4324-b144-18a7e046d981" providerId="ADAL" clId="{33619D88-3F50-494B-83B9-988F8B17CC2F}" dt="2023-03-17T06:39:35.420" v="627"/>
          <ac:spMkLst>
            <pc:docMk/>
            <pc:sldMk cId="3191430499" sldId="2147469706"/>
            <ac:spMk id="87" creationId="{66EB8963-39C1-EC5F-A082-27DBBA18C8B2}"/>
          </ac:spMkLst>
        </pc:spChg>
        <pc:spChg chg="del mod topLvl">
          <ac:chgData name="Anjali Jaisinghani" userId="cad40627-4d93-4324-b144-18a7e046d981" providerId="ADAL" clId="{33619D88-3F50-494B-83B9-988F8B17CC2F}" dt="2023-03-17T06:47:41.008" v="714" actId="478"/>
          <ac:spMkLst>
            <pc:docMk/>
            <pc:sldMk cId="3191430499" sldId="2147469706"/>
            <ac:spMk id="89" creationId="{31565C64-F569-F1A4-F2D8-AD3A3A1594C3}"/>
          </ac:spMkLst>
        </pc:spChg>
        <pc:spChg chg="del mod topLvl">
          <ac:chgData name="Anjali Jaisinghani" userId="cad40627-4d93-4324-b144-18a7e046d981" providerId="ADAL" clId="{33619D88-3F50-494B-83B9-988F8B17CC2F}" dt="2023-03-17T06:47:39.863" v="713" actId="478"/>
          <ac:spMkLst>
            <pc:docMk/>
            <pc:sldMk cId="3191430499" sldId="2147469706"/>
            <ac:spMk id="90" creationId="{3BAFF5D0-8492-8DBC-D006-0FA6E6C13B2F}"/>
          </ac:spMkLst>
        </pc:spChg>
        <pc:spChg chg="mod">
          <ac:chgData name="Anjali Jaisinghani" userId="cad40627-4d93-4324-b144-18a7e046d981" providerId="ADAL" clId="{33619D88-3F50-494B-83B9-988F8B17CC2F}" dt="2023-03-17T06:39:35.915" v="629"/>
          <ac:spMkLst>
            <pc:docMk/>
            <pc:sldMk cId="3191430499" sldId="2147469706"/>
            <ac:spMk id="92" creationId="{11E0C2BF-EE26-C1AE-DD53-7DFE62F9006D}"/>
          </ac:spMkLst>
        </pc:spChg>
        <pc:spChg chg="mod">
          <ac:chgData name="Anjali Jaisinghani" userId="cad40627-4d93-4324-b144-18a7e046d981" providerId="ADAL" clId="{33619D88-3F50-494B-83B9-988F8B17CC2F}" dt="2023-03-20T04:58:29.645" v="4844" actId="20577"/>
          <ac:spMkLst>
            <pc:docMk/>
            <pc:sldMk cId="3191430499" sldId="2147469706"/>
            <ac:spMk id="92" creationId="{21E8ABB6-D4FD-B65B-7F2B-0D7B48AE00B5}"/>
          </ac:spMkLst>
        </pc:spChg>
        <pc:spChg chg="mod">
          <ac:chgData name="Anjali Jaisinghani" userId="cad40627-4d93-4324-b144-18a7e046d981" providerId="ADAL" clId="{33619D88-3F50-494B-83B9-988F8B17CC2F}" dt="2023-03-17T06:39:35.915" v="629"/>
          <ac:spMkLst>
            <pc:docMk/>
            <pc:sldMk cId="3191430499" sldId="2147469706"/>
            <ac:spMk id="93" creationId="{27D22D74-FA30-C6BD-413D-846C3FFAFED0}"/>
          </ac:spMkLst>
        </pc:spChg>
        <pc:spChg chg="mod">
          <ac:chgData name="Anjali Jaisinghani" userId="cad40627-4d93-4324-b144-18a7e046d981" providerId="ADAL" clId="{33619D88-3F50-494B-83B9-988F8B17CC2F}" dt="2023-03-20T04:55:38.654" v="4743"/>
          <ac:spMkLst>
            <pc:docMk/>
            <pc:sldMk cId="3191430499" sldId="2147469706"/>
            <ac:spMk id="94" creationId="{33B770EC-2CAA-94B3-E9DF-B6706109E1A5}"/>
          </ac:spMkLst>
        </pc:spChg>
        <pc:spChg chg="mod">
          <ac:chgData name="Anjali Jaisinghani" userId="cad40627-4d93-4324-b144-18a7e046d981" providerId="ADAL" clId="{33619D88-3F50-494B-83B9-988F8B17CC2F}" dt="2023-03-20T04:55:46.568" v="4748" actId="6549"/>
          <ac:spMkLst>
            <pc:docMk/>
            <pc:sldMk cId="3191430499" sldId="2147469706"/>
            <ac:spMk id="95" creationId="{00818C32-90A2-5909-4531-F3C4030B6799}"/>
          </ac:spMkLst>
        </pc:spChg>
        <pc:spChg chg="mod">
          <ac:chgData name="Anjali Jaisinghani" userId="cad40627-4d93-4324-b144-18a7e046d981" providerId="ADAL" clId="{33619D88-3F50-494B-83B9-988F8B17CC2F}" dt="2023-03-20T06:12:31.607" v="6424"/>
          <ac:spMkLst>
            <pc:docMk/>
            <pc:sldMk cId="3191430499" sldId="2147469706"/>
            <ac:spMk id="103" creationId="{57423B77-FE8A-4FFC-2051-0C4101BEE438}"/>
          </ac:spMkLst>
        </pc:spChg>
        <pc:spChg chg="mod">
          <ac:chgData name="Anjali Jaisinghani" userId="cad40627-4d93-4324-b144-18a7e046d981" providerId="ADAL" clId="{33619D88-3F50-494B-83B9-988F8B17CC2F}" dt="2023-03-20T05:01:38.167" v="4965"/>
          <ac:spMkLst>
            <pc:docMk/>
            <pc:sldMk cId="3191430499" sldId="2147469706"/>
            <ac:spMk id="105" creationId="{59C80961-8BCA-B814-455B-B736582DB229}"/>
          </ac:spMkLst>
        </pc:spChg>
        <pc:spChg chg="mod">
          <ac:chgData name="Anjali Jaisinghani" userId="cad40627-4d93-4324-b144-18a7e046d981" providerId="ADAL" clId="{33619D88-3F50-494B-83B9-988F8B17CC2F}" dt="2023-03-20T06:09:10.559" v="6378" actId="20577"/>
          <ac:spMkLst>
            <pc:docMk/>
            <pc:sldMk cId="3191430499" sldId="2147469706"/>
            <ac:spMk id="106" creationId="{964EE0F2-ED8D-13C2-8AE3-871DCA3A85E5}"/>
          </ac:spMkLst>
        </pc:spChg>
        <pc:spChg chg="mod">
          <ac:chgData name="Anjali Jaisinghani" userId="cad40627-4d93-4324-b144-18a7e046d981" providerId="ADAL" clId="{33619D88-3F50-494B-83B9-988F8B17CC2F}" dt="2023-03-17T06:45:43.291" v="691"/>
          <ac:spMkLst>
            <pc:docMk/>
            <pc:sldMk cId="3191430499" sldId="2147469706"/>
            <ac:spMk id="114" creationId="{2FAB2B14-AB9D-42C8-0515-3733C34E614B}"/>
          </ac:spMkLst>
        </pc:spChg>
        <pc:spChg chg="mod">
          <ac:chgData name="Anjali Jaisinghani" userId="cad40627-4d93-4324-b144-18a7e046d981" providerId="ADAL" clId="{33619D88-3F50-494B-83B9-988F8B17CC2F}" dt="2023-03-17T06:45:51.486" v="695" actId="20577"/>
          <ac:spMkLst>
            <pc:docMk/>
            <pc:sldMk cId="3191430499" sldId="2147469706"/>
            <ac:spMk id="115" creationId="{567EDC2E-8876-91AC-9BC0-2A64C677C27C}"/>
          </ac:spMkLst>
        </pc:spChg>
        <pc:spChg chg="mod">
          <ac:chgData name="Anjali Jaisinghani" userId="cad40627-4d93-4324-b144-18a7e046d981" providerId="ADAL" clId="{33619D88-3F50-494B-83B9-988F8B17CC2F}" dt="2023-03-20T05:09:07.259" v="5178" actId="571"/>
          <ac:spMkLst>
            <pc:docMk/>
            <pc:sldMk cId="3191430499" sldId="2147469706"/>
            <ac:spMk id="124" creationId="{3267F13B-6A62-3684-85E4-B996C9DAAB4C}"/>
          </ac:spMkLst>
        </pc:spChg>
        <pc:spChg chg="mod">
          <ac:chgData name="Anjali Jaisinghani" userId="cad40627-4d93-4324-b144-18a7e046d981" providerId="ADAL" clId="{33619D88-3F50-494B-83B9-988F8B17CC2F}" dt="2023-03-20T05:09:07.259" v="5178" actId="571"/>
          <ac:spMkLst>
            <pc:docMk/>
            <pc:sldMk cId="3191430499" sldId="2147469706"/>
            <ac:spMk id="126" creationId="{146706F0-BCFC-F1FC-5541-01CF3EDD03D5}"/>
          </ac:spMkLst>
        </pc:spChg>
        <pc:spChg chg="mod">
          <ac:chgData name="Anjali Jaisinghani" userId="cad40627-4d93-4324-b144-18a7e046d981" providerId="ADAL" clId="{33619D88-3F50-494B-83B9-988F8B17CC2F}" dt="2023-03-20T05:09:07.259" v="5178" actId="571"/>
          <ac:spMkLst>
            <pc:docMk/>
            <pc:sldMk cId="3191430499" sldId="2147469706"/>
            <ac:spMk id="127" creationId="{E7CB76D2-C389-9EF5-F559-3F6512D74B58}"/>
          </ac:spMkLst>
        </pc:spChg>
        <pc:spChg chg="mod">
          <ac:chgData name="Anjali Jaisinghani" userId="cad40627-4d93-4324-b144-18a7e046d981" providerId="ADAL" clId="{33619D88-3F50-494B-83B9-988F8B17CC2F}" dt="2023-03-17T07:15:02.448" v="809"/>
          <ac:spMkLst>
            <pc:docMk/>
            <pc:sldMk cId="3191430499" sldId="2147469706"/>
            <ac:spMk id="129" creationId="{7A94AF1F-A4C4-6200-61D9-256A462AC6EC}"/>
          </ac:spMkLst>
        </pc:spChg>
        <pc:spChg chg="mod">
          <ac:chgData name="Anjali Jaisinghani" userId="cad40627-4d93-4324-b144-18a7e046d981" providerId="ADAL" clId="{33619D88-3F50-494B-83B9-988F8B17CC2F}" dt="2023-03-20T04:45:48.400" v="4631" actId="20577"/>
          <ac:spMkLst>
            <pc:docMk/>
            <pc:sldMk cId="3191430499" sldId="2147469706"/>
            <ac:spMk id="130" creationId="{86DD8763-DF3F-E433-0FA2-E46E5878E24E}"/>
          </ac:spMkLst>
        </pc:spChg>
        <pc:spChg chg="mod">
          <ac:chgData name="Anjali Jaisinghani" userId="cad40627-4d93-4324-b144-18a7e046d981" providerId="ADAL" clId="{33619D88-3F50-494B-83B9-988F8B17CC2F}" dt="2023-03-17T07:16:02.533" v="821"/>
          <ac:spMkLst>
            <pc:docMk/>
            <pc:sldMk cId="3191430499" sldId="2147469706"/>
            <ac:spMk id="134" creationId="{C2EEA45A-A9A7-43E8-B323-9E126354372E}"/>
          </ac:spMkLst>
        </pc:spChg>
        <pc:spChg chg="mod">
          <ac:chgData name="Anjali Jaisinghani" userId="cad40627-4d93-4324-b144-18a7e046d981" providerId="ADAL" clId="{33619D88-3F50-494B-83B9-988F8B17CC2F}" dt="2023-03-17T07:29:53.019" v="983" actId="20577"/>
          <ac:spMkLst>
            <pc:docMk/>
            <pc:sldMk cId="3191430499" sldId="2147469706"/>
            <ac:spMk id="135" creationId="{EFED4313-B90C-8333-B21A-FB9B297330A3}"/>
          </ac:spMkLst>
        </pc:spChg>
        <pc:spChg chg="mod">
          <ac:chgData name="Anjali Jaisinghani" userId="cad40627-4d93-4324-b144-18a7e046d981" providerId="ADAL" clId="{33619D88-3F50-494B-83B9-988F8B17CC2F}" dt="2023-03-17T07:16:25.082" v="827"/>
          <ac:spMkLst>
            <pc:docMk/>
            <pc:sldMk cId="3191430499" sldId="2147469706"/>
            <ac:spMk id="137" creationId="{B0BE568B-2C45-114A-37E3-1D92BA53A320}"/>
          </ac:spMkLst>
        </pc:spChg>
        <pc:spChg chg="mod">
          <ac:chgData name="Anjali Jaisinghani" userId="cad40627-4d93-4324-b144-18a7e046d981" providerId="ADAL" clId="{33619D88-3F50-494B-83B9-988F8B17CC2F}" dt="2023-03-17T07:16:25.082" v="827"/>
          <ac:spMkLst>
            <pc:docMk/>
            <pc:sldMk cId="3191430499" sldId="2147469706"/>
            <ac:spMk id="139" creationId="{7A8F7D51-CA39-178E-3E23-E56A7F3F2BAA}"/>
          </ac:spMkLst>
        </pc:spChg>
        <pc:spChg chg="mod">
          <ac:chgData name="Anjali Jaisinghani" userId="cad40627-4d93-4324-b144-18a7e046d981" providerId="ADAL" clId="{33619D88-3F50-494B-83B9-988F8B17CC2F}" dt="2023-03-17T07:29:49.789" v="980" actId="20577"/>
          <ac:spMkLst>
            <pc:docMk/>
            <pc:sldMk cId="3191430499" sldId="2147469706"/>
            <ac:spMk id="140" creationId="{17276A21-C898-602F-AF4C-0E06E344258C}"/>
          </ac:spMkLst>
        </pc:spChg>
        <pc:spChg chg="mod">
          <ac:chgData name="Anjali Jaisinghani" userId="cad40627-4d93-4324-b144-18a7e046d981" providerId="ADAL" clId="{33619D88-3F50-494B-83B9-988F8B17CC2F}" dt="2023-03-17T07:16:52.905" v="831"/>
          <ac:spMkLst>
            <pc:docMk/>
            <pc:sldMk cId="3191430499" sldId="2147469706"/>
            <ac:spMk id="142" creationId="{25E38BF1-E0FB-0D56-7E3E-78DC07F52FA0}"/>
          </ac:spMkLst>
        </pc:spChg>
        <pc:spChg chg="mod">
          <ac:chgData name="Anjali Jaisinghani" userId="cad40627-4d93-4324-b144-18a7e046d981" providerId="ADAL" clId="{33619D88-3F50-494B-83B9-988F8B17CC2F}" dt="2023-03-17T07:29:45.905" v="977" actId="20577"/>
          <ac:spMkLst>
            <pc:docMk/>
            <pc:sldMk cId="3191430499" sldId="2147469706"/>
            <ac:spMk id="143" creationId="{2679F31A-D17C-E4E6-0F08-FDEC005A4379}"/>
          </ac:spMkLst>
        </pc:spChg>
        <pc:spChg chg="add mod">
          <ac:chgData name="Anjali Jaisinghani" userId="cad40627-4d93-4324-b144-18a7e046d981" providerId="ADAL" clId="{33619D88-3F50-494B-83B9-988F8B17CC2F}" dt="2023-03-20T08:07:31.456" v="7250" actId="1076"/>
          <ac:spMkLst>
            <pc:docMk/>
            <pc:sldMk cId="3191430499" sldId="2147469706"/>
            <ac:spMk id="144" creationId="{D29C384B-6D85-3E88-53CB-1D204F328585}"/>
          </ac:spMkLst>
        </pc:spChg>
        <pc:spChg chg="mod">
          <ac:chgData name="Anjali Jaisinghani" userId="cad40627-4d93-4324-b144-18a7e046d981" providerId="ADAL" clId="{33619D88-3F50-494B-83B9-988F8B17CC2F}" dt="2023-03-17T07:18:43.366" v="847"/>
          <ac:spMkLst>
            <pc:docMk/>
            <pc:sldMk cId="3191430499" sldId="2147469706"/>
            <ac:spMk id="147" creationId="{EF5181D2-2C96-44F5-65A0-02397B9E36F7}"/>
          </ac:spMkLst>
        </pc:spChg>
        <pc:spChg chg="del mod">
          <ac:chgData name="Anjali Jaisinghani" userId="cad40627-4d93-4324-b144-18a7e046d981" providerId="ADAL" clId="{33619D88-3F50-494B-83B9-988F8B17CC2F}" dt="2023-03-17T06:49:55.756" v="745" actId="478"/>
          <ac:spMkLst>
            <pc:docMk/>
            <pc:sldMk cId="3191430499" sldId="2147469706"/>
            <ac:spMk id="148" creationId="{73D8EA73-1765-7D00-E3C4-8BE97936B55F}"/>
          </ac:spMkLst>
        </pc:spChg>
        <pc:spChg chg="mod">
          <ac:chgData name="Anjali Jaisinghani" userId="cad40627-4d93-4324-b144-18a7e046d981" providerId="ADAL" clId="{33619D88-3F50-494B-83B9-988F8B17CC2F}" dt="2023-03-20T04:53:26.816" v="4733" actId="20577"/>
          <ac:spMkLst>
            <pc:docMk/>
            <pc:sldMk cId="3191430499" sldId="2147469706"/>
            <ac:spMk id="149" creationId="{F1DC0B39-42D7-67A3-91EF-85D47FCEDCA4}"/>
          </ac:spMkLst>
        </pc:spChg>
        <pc:spChg chg="mod">
          <ac:chgData name="Anjali Jaisinghani" userId="cad40627-4d93-4324-b144-18a7e046d981" providerId="ADAL" clId="{33619D88-3F50-494B-83B9-988F8B17CC2F}" dt="2023-03-17T07:19:12.210" v="853"/>
          <ac:spMkLst>
            <pc:docMk/>
            <pc:sldMk cId="3191430499" sldId="2147469706"/>
            <ac:spMk id="151" creationId="{70479C6C-91FE-D0B5-DBD2-16826E757A09}"/>
          </ac:spMkLst>
        </pc:spChg>
        <pc:spChg chg="del mod">
          <ac:chgData name="Anjali Jaisinghani" userId="cad40627-4d93-4324-b144-18a7e046d981" providerId="ADAL" clId="{33619D88-3F50-494B-83B9-988F8B17CC2F}" dt="2023-03-17T06:46:59.063" v="703" actId="478"/>
          <ac:spMkLst>
            <pc:docMk/>
            <pc:sldMk cId="3191430499" sldId="2147469706"/>
            <ac:spMk id="152" creationId="{31922498-63BA-E067-36AB-C311955FA603}"/>
          </ac:spMkLst>
        </pc:spChg>
        <pc:spChg chg="del mod">
          <ac:chgData name="Anjali Jaisinghani" userId="cad40627-4d93-4324-b144-18a7e046d981" providerId="ADAL" clId="{33619D88-3F50-494B-83B9-988F8B17CC2F}" dt="2023-03-17T06:46:59.063" v="703" actId="478"/>
          <ac:spMkLst>
            <pc:docMk/>
            <pc:sldMk cId="3191430499" sldId="2147469706"/>
            <ac:spMk id="153" creationId="{A0A513BF-9D9D-1D31-D7CC-E63D62843C31}"/>
          </ac:spMkLst>
        </pc:spChg>
        <pc:spChg chg="mod">
          <ac:chgData name="Anjali Jaisinghani" userId="cad40627-4d93-4324-b144-18a7e046d981" providerId="ADAL" clId="{33619D88-3F50-494B-83B9-988F8B17CC2F}" dt="2023-03-20T06:08:49.987" v="6372" actId="20577"/>
          <ac:spMkLst>
            <pc:docMk/>
            <pc:sldMk cId="3191430499" sldId="2147469706"/>
            <ac:spMk id="154" creationId="{43A4E7AD-3ABE-BB78-455D-F2F18EC14D7A}"/>
          </ac:spMkLst>
        </pc:spChg>
        <pc:spChg chg="mod">
          <ac:chgData name="Anjali Jaisinghani" userId="cad40627-4d93-4324-b144-18a7e046d981" providerId="ADAL" clId="{33619D88-3F50-494B-83B9-988F8B17CC2F}" dt="2023-03-17T07:21:46.852" v="887" actId="2085"/>
          <ac:spMkLst>
            <pc:docMk/>
            <pc:sldMk cId="3191430499" sldId="2147469706"/>
            <ac:spMk id="159" creationId="{4907324D-1B6C-C2F7-E2AF-2CEBAD5D5BE4}"/>
          </ac:spMkLst>
        </pc:spChg>
        <pc:spChg chg="mod">
          <ac:chgData name="Anjali Jaisinghani" userId="cad40627-4d93-4324-b144-18a7e046d981" providerId="ADAL" clId="{33619D88-3F50-494B-83B9-988F8B17CC2F}" dt="2023-03-20T05:00:22.449" v="4962" actId="20577"/>
          <ac:spMkLst>
            <pc:docMk/>
            <pc:sldMk cId="3191430499" sldId="2147469706"/>
            <ac:spMk id="160" creationId="{1E3DAEDA-8E12-1FE3-6D8F-1C8A2C9E888A}"/>
          </ac:spMkLst>
        </pc:spChg>
        <pc:spChg chg="del mod topLvl">
          <ac:chgData name="Anjali Jaisinghani" userId="cad40627-4d93-4324-b144-18a7e046d981" providerId="ADAL" clId="{33619D88-3F50-494B-83B9-988F8B17CC2F}" dt="2023-03-17T06:39:56.104" v="634" actId="478"/>
          <ac:spMkLst>
            <pc:docMk/>
            <pc:sldMk cId="3191430499" sldId="2147469706"/>
            <ac:spMk id="161" creationId="{7E2FE8AD-E1EA-7036-3955-2A122BAE2175}"/>
          </ac:spMkLst>
        </pc:spChg>
        <pc:spChg chg="mod">
          <ac:chgData name="Anjali Jaisinghani" userId="cad40627-4d93-4324-b144-18a7e046d981" providerId="ADAL" clId="{33619D88-3F50-494B-83B9-988F8B17CC2F}" dt="2023-03-17T07:22:07.445" v="889"/>
          <ac:spMkLst>
            <pc:docMk/>
            <pc:sldMk cId="3191430499" sldId="2147469706"/>
            <ac:spMk id="165" creationId="{4BCC0157-A1EE-EF75-9092-3608D4CE864F}"/>
          </ac:spMkLst>
        </pc:spChg>
        <pc:spChg chg="mod">
          <ac:chgData name="Anjali Jaisinghani" userId="cad40627-4d93-4324-b144-18a7e046d981" providerId="ADAL" clId="{33619D88-3F50-494B-83B9-988F8B17CC2F}" dt="2023-03-20T05:00:14.588" v="4960" actId="20577"/>
          <ac:spMkLst>
            <pc:docMk/>
            <pc:sldMk cId="3191430499" sldId="2147469706"/>
            <ac:spMk id="166" creationId="{694CB6FF-FB4B-6448-26CF-7378F1FBDF3A}"/>
          </ac:spMkLst>
        </pc:spChg>
        <pc:spChg chg="mod">
          <ac:chgData name="Anjali Jaisinghani" userId="cad40627-4d93-4324-b144-18a7e046d981" providerId="ADAL" clId="{33619D88-3F50-494B-83B9-988F8B17CC2F}" dt="2023-03-17T07:24:17.883" v="909"/>
          <ac:spMkLst>
            <pc:docMk/>
            <pc:sldMk cId="3191430499" sldId="2147469706"/>
            <ac:spMk id="169" creationId="{E460D7F6-CBCD-4DA1-CA8D-D80C6D83898A}"/>
          </ac:spMkLst>
        </pc:spChg>
        <pc:spChg chg="mod">
          <ac:chgData name="Anjali Jaisinghani" userId="cad40627-4d93-4324-b144-18a7e046d981" providerId="ADAL" clId="{33619D88-3F50-494B-83B9-988F8B17CC2F}" dt="2023-03-20T04:57:41.210" v="4816" actId="20577"/>
          <ac:spMkLst>
            <pc:docMk/>
            <pc:sldMk cId="3191430499" sldId="2147469706"/>
            <ac:spMk id="170" creationId="{B184BB6C-5515-09AF-7956-E2436A3C06DE}"/>
          </ac:spMkLst>
        </pc:spChg>
        <pc:spChg chg="mod">
          <ac:chgData name="Anjali Jaisinghani" userId="cad40627-4d93-4324-b144-18a7e046d981" providerId="ADAL" clId="{33619D88-3F50-494B-83B9-988F8B17CC2F}" dt="2023-03-17T07:24:33.922" v="913"/>
          <ac:spMkLst>
            <pc:docMk/>
            <pc:sldMk cId="3191430499" sldId="2147469706"/>
            <ac:spMk id="172" creationId="{FD4A32C8-1A46-947B-46ED-1DFAD6B94394}"/>
          </ac:spMkLst>
        </pc:spChg>
        <pc:spChg chg="mod">
          <ac:chgData name="Anjali Jaisinghani" userId="cad40627-4d93-4324-b144-18a7e046d981" providerId="ADAL" clId="{33619D88-3F50-494B-83B9-988F8B17CC2F}" dt="2023-03-20T06:09:08.303" v="6376" actId="20577"/>
          <ac:spMkLst>
            <pc:docMk/>
            <pc:sldMk cId="3191430499" sldId="2147469706"/>
            <ac:spMk id="173" creationId="{95138F87-6682-2156-393E-AD796634E4E3}"/>
          </ac:spMkLst>
        </pc:spChg>
        <pc:spChg chg="mod">
          <ac:chgData name="Anjali Jaisinghani" userId="cad40627-4d93-4324-b144-18a7e046d981" providerId="ADAL" clId="{33619D88-3F50-494B-83B9-988F8B17CC2F}" dt="2023-03-20T06:12:53.815" v="6427" actId="165"/>
          <ac:spMkLst>
            <pc:docMk/>
            <pc:sldMk cId="3191430499" sldId="2147469706"/>
            <ac:spMk id="176" creationId="{EB83AA17-B86F-4FC5-3C9C-2DEF3EAAFDDE}"/>
          </ac:spMkLst>
        </pc:spChg>
        <pc:spChg chg="mod">
          <ac:chgData name="Anjali Jaisinghani" userId="cad40627-4d93-4324-b144-18a7e046d981" providerId="ADAL" clId="{33619D88-3F50-494B-83B9-988F8B17CC2F}" dt="2023-03-20T06:12:53.815" v="6427" actId="165"/>
          <ac:spMkLst>
            <pc:docMk/>
            <pc:sldMk cId="3191430499" sldId="2147469706"/>
            <ac:spMk id="177" creationId="{64898F89-25ED-37E3-5AD0-D7E25E3098CE}"/>
          </ac:spMkLst>
        </pc:spChg>
        <pc:spChg chg="mod">
          <ac:chgData name="Anjali Jaisinghani" userId="cad40627-4d93-4324-b144-18a7e046d981" providerId="ADAL" clId="{33619D88-3F50-494B-83B9-988F8B17CC2F}" dt="2023-03-17T07:31:54.859" v="1011" actId="1582"/>
          <ac:spMkLst>
            <pc:docMk/>
            <pc:sldMk cId="3191430499" sldId="2147469706"/>
            <ac:spMk id="180" creationId="{FA074717-9297-A8A6-AC8E-8F90F0B01D88}"/>
          </ac:spMkLst>
        </pc:spChg>
        <pc:spChg chg="add mod">
          <ac:chgData name="Anjali Jaisinghani" userId="cad40627-4d93-4324-b144-18a7e046d981" providerId="ADAL" clId="{33619D88-3F50-494B-83B9-988F8B17CC2F}" dt="2023-03-20T08:05:01.620" v="7235" actId="404"/>
          <ac:spMkLst>
            <pc:docMk/>
            <pc:sldMk cId="3191430499" sldId="2147469706"/>
            <ac:spMk id="182" creationId="{5E2C0EF7-0821-87AD-919E-D8F8B3CAE944}"/>
          </ac:spMkLst>
        </pc:spChg>
        <pc:spChg chg="mod">
          <ac:chgData name="Anjali Jaisinghani" userId="cad40627-4d93-4324-b144-18a7e046d981" providerId="ADAL" clId="{33619D88-3F50-494B-83B9-988F8B17CC2F}" dt="2023-03-17T07:26:30.384" v="939"/>
          <ac:spMkLst>
            <pc:docMk/>
            <pc:sldMk cId="3191430499" sldId="2147469706"/>
            <ac:spMk id="185" creationId="{B7DC7CBC-4248-6316-B998-613C68F3910E}"/>
          </ac:spMkLst>
        </pc:spChg>
        <pc:spChg chg="mod">
          <ac:chgData name="Anjali Jaisinghani" userId="cad40627-4d93-4324-b144-18a7e046d981" providerId="ADAL" clId="{33619D88-3F50-494B-83B9-988F8B17CC2F}" dt="2023-03-17T07:31:20.497" v="1009" actId="1076"/>
          <ac:spMkLst>
            <pc:docMk/>
            <pc:sldMk cId="3191430499" sldId="2147469706"/>
            <ac:spMk id="186" creationId="{B6587D92-1D24-1B1D-FE9A-15AACAEC0CF0}"/>
          </ac:spMkLst>
        </pc:spChg>
        <pc:spChg chg="mod">
          <ac:chgData name="Anjali Jaisinghani" userId="cad40627-4d93-4324-b144-18a7e046d981" providerId="ADAL" clId="{33619D88-3F50-494B-83B9-988F8B17CC2F}" dt="2023-03-20T08:01:54.906" v="7101" actId="1076"/>
          <ac:spMkLst>
            <pc:docMk/>
            <pc:sldMk cId="3191430499" sldId="2147469706"/>
            <ac:spMk id="188" creationId="{A73E6C11-3C69-073C-BC5D-525C7514ED9C}"/>
          </ac:spMkLst>
        </pc:spChg>
        <pc:spChg chg="add mod">
          <ac:chgData name="Anjali Jaisinghani" userId="cad40627-4d93-4324-b144-18a7e046d981" providerId="ADAL" clId="{33619D88-3F50-494B-83B9-988F8B17CC2F}" dt="2023-03-20T08:04:58.444" v="7234" actId="404"/>
          <ac:spMkLst>
            <pc:docMk/>
            <pc:sldMk cId="3191430499" sldId="2147469706"/>
            <ac:spMk id="189" creationId="{06A7F0B3-E31D-D74E-3E60-0BAD9768EFE0}"/>
          </ac:spMkLst>
        </pc:spChg>
        <pc:spChg chg="add mod">
          <ac:chgData name="Anjali Jaisinghani" userId="cad40627-4d93-4324-b144-18a7e046d981" providerId="ADAL" clId="{33619D88-3F50-494B-83B9-988F8B17CC2F}" dt="2023-03-20T08:04:54.979" v="7233" actId="404"/>
          <ac:spMkLst>
            <pc:docMk/>
            <pc:sldMk cId="3191430499" sldId="2147469706"/>
            <ac:spMk id="190" creationId="{D854A399-D751-1CEB-2E60-3744DE162AA1}"/>
          </ac:spMkLst>
        </pc:spChg>
        <pc:spChg chg="add mod">
          <ac:chgData name="Anjali Jaisinghani" userId="cad40627-4d93-4324-b144-18a7e046d981" providerId="ADAL" clId="{33619D88-3F50-494B-83B9-988F8B17CC2F}" dt="2023-03-20T08:04:50.967" v="7232" actId="404"/>
          <ac:spMkLst>
            <pc:docMk/>
            <pc:sldMk cId="3191430499" sldId="2147469706"/>
            <ac:spMk id="191" creationId="{1EEB078A-DCD1-4988-F2EC-E285FA9820DC}"/>
          </ac:spMkLst>
        </pc:spChg>
        <pc:spChg chg="mod">
          <ac:chgData name="Anjali Jaisinghani" userId="cad40627-4d93-4324-b144-18a7e046d981" providerId="ADAL" clId="{33619D88-3F50-494B-83B9-988F8B17CC2F}" dt="2023-03-17T07:28:58.485" v="965" actId="164"/>
          <ac:spMkLst>
            <pc:docMk/>
            <pc:sldMk cId="3191430499" sldId="2147469706"/>
            <ac:spMk id="202" creationId="{227B2F16-1027-9EBE-8F76-51A9C0198154}"/>
          </ac:spMkLst>
        </pc:spChg>
        <pc:spChg chg="mod">
          <ac:chgData name="Anjali Jaisinghani" userId="cad40627-4d93-4324-b144-18a7e046d981" providerId="ADAL" clId="{33619D88-3F50-494B-83B9-988F8B17CC2F}" dt="2023-03-17T07:30:40.668" v="1003" actId="20577"/>
          <ac:spMkLst>
            <pc:docMk/>
            <pc:sldMk cId="3191430499" sldId="2147469706"/>
            <ac:spMk id="203" creationId="{6C5592DE-BE12-EF7D-BAC7-453277ED9B99}"/>
          </ac:spMkLst>
        </pc:spChg>
        <pc:spChg chg="mod">
          <ac:chgData name="Anjali Jaisinghani" userId="cad40627-4d93-4324-b144-18a7e046d981" providerId="ADAL" clId="{33619D88-3F50-494B-83B9-988F8B17CC2F}" dt="2023-03-17T07:28:06.100" v="952"/>
          <ac:spMkLst>
            <pc:docMk/>
            <pc:sldMk cId="3191430499" sldId="2147469706"/>
            <ac:spMk id="205" creationId="{F416A2FC-7932-B1F5-DB77-97747F8037B0}"/>
          </ac:spMkLst>
        </pc:spChg>
        <pc:spChg chg="mod">
          <ac:chgData name="Anjali Jaisinghani" userId="cad40627-4d93-4324-b144-18a7e046d981" providerId="ADAL" clId="{33619D88-3F50-494B-83B9-988F8B17CC2F}" dt="2023-03-17T07:30:36.635" v="1001" actId="20577"/>
          <ac:spMkLst>
            <pc:docMk/>
            <pc:sldMk cId="3191430499" sldId="2147469706"/>
            <ac:spMk id="206" creationId="{52D6D55E-CED0-F8DF-688D-5C032E76AEB0}"/>
          </ac:spMkLst>
        </pc:spChg>
        <pc:spChg chg="add mod">
          <ac:chgData name="Anjali Jaisinghani" userId="cad40627-4d93-4324-b144-18a7e046d981" providerId="ADAL" clId="{33619D88-3F50-494B-83B9-988F8B17CC2F}" dt="2023-03-20T06:14:11.361" v="6435" actId="164"/>
          <ac:spMkLst>
            <pc:docMk/>
            <pc:sldMk cId="3191430499" sldId="2147469706"/>
            <ac:spMk id="225" creationId="{75C26DC4-3C24-1DD1-0426-7420C98E169D}"/>
          </ac:spMkLst>
        </pc:spChg>
        <pc:spChg chg="mod">
          <ac:chgData name="Anjali Jaisinghani" userId="cad40627-4d93-4324-b144-18a7e046d981" providerId="ADAL" clId="{33619D88-3F50-494B-83B9-988F8B17CC2F}" dt="2023-03-20T08:01:54.906" v="7101" actId="1076"/>
          <ac:spMkLst>
            <pc:docMk/>
            <pc:sldMk cId="3191430499" sldId="2147469706"/>
            <ac:spMk id="256" creationId="{C76ADD66-477F-3AC9-8E09-6F9B2138DF44}"/>
          </ac:spMkLst>
        </pc:spChg>
        <pc:spChg chg="mod">
          <ac:chgData name="Anjali Jaisinghani" userId="cad40627-4d93-4324-b144-18a7e046d981" providerId="ADAL" clId="{33619D88-3F50-494B-83B9-988F8B17CC2F}" dt="2023-03-20T08:01:54.906" v="7101" actId="1076"/>
          <ac:spMkLst>
            <pc:docMk/>
            <pc:sldMk cId="3191430499" sldId="2147469706"/>
            <ac:spMk id="257" creationId="{DDD5978C-4640-1317-C39E-9A13714304EE}"/>
          </ac:spMkLst>
        </pc:spChg>
        <pc:spChg chg="del mod">
          <ac:chgData name="Anjali Jaisinghani" userId="cad40627-4d93-4324-b144-18a7e046d981" providerId="ADAL" clId="{33619D88-3F50-494B-83B9-988F8B17CC2F}" dt="2023-03-17T06:43:53.851" v="671" actId="478"/>
          <ac:spMkLst>
            <pc:docMk/>
            <pc:sldMk cId="3191430499" sldId="2147469706"/>
            <ac:spMk id="265" creationId="{F635A337-4B31-8980-8B00-DBA5BB11D97A}"/>
          </ac:spMkLst>
        </pc:spChg>
        <pc:spChg chg="mod topLvl">
          <ac:chgData name="Anjali Jaisinghani" userId="cad40627-4d93-4324-b144-18a7e046d981" providerId="ADAL" clId="{33619D88-3F50-494B-83B9-988F8B17CC2F}" dt="2023-03-20T04:46:12.238" v="4636" actId="14100"/>
          <ac:spMkLst>
            <pc:docMk/>
            <pc:sldMk cId="3191430499" sldId="2147469706"/>
            <ac:spMk id="266" creationId="{4B85D65B-F0BB-BC2C-7F56-6DF48FD6FB98}"/>
          </ac:spMkLst>
        </pc:spChg>
        <pc:spChg chg="mod topLvl">
          <ac:chgData name="Anjali Jaisinghani" userId="cad40627-4d93-4324-b144-18a7e046d981" providerId="ADAL" clId="{33619D88-3F50-494B-83B9-988F8B17CC2F}" dt="2023-03-20T04:51:01.959" v="4707" actId="1076"/>
          <ac:spMkLst>
            <pc:docMk/>
            <pc:sldMk cId="3191430499" sldId="2147469706"/>
            <ac:spMk id="293" creationId="{3CE94021-5085-562C-57D4-D8333961DC44}"/>
          </ac:spMkLst>
        </pc:spChg>
        <pc:spChg chg="del mod topLvl">
          <ac:chgData name="Anjali Jaisinghani" userId="cad40627-4d93-4324-b144-18a7e046d981" providerId="ADAL" clId="{33619D88-3F50-494B-83B9-988F8B17CC2F}" dt="2023-03-17T06:41:07.989" v="645" actId="478"/>
          <ac:spMkLst>
            <pc:docMk/>
            <pc:sldMk cId="3191430499" sldId="2147469706"/>
            <ac:spMk id="303" creationId="{B72A794D-384D-846F-924E-C13B458B67C8}"/>
          </ac:spMkLst>
        </pc:spChg>
        <pc:spChg chg="mod topLvl">
          <ac:chgData name="Anjali Jaisinghani" userId="cad40627-4d93-4324-b144-18a7e046d981" providerId="ADAL" clId="{33619D88-3F50-494B-83B9-988F8B17CC2F}" dt="2023-03-17T07:18:20.704" v="843" actId="1076"/>
          <ac:spMkLst>
            <pc:docMk/>
            <pc:sldMk cId="3191430499" sldId="2147469706"/>
            <ac:spMk id="307" creationId="{1F53701C-619B-DA6E-0033-34D294D9C571}"/>
          </ac:spMkLst>
        </pc:spChg>
        <pc:spChg chg="del mod topLvl">
          <ac:chgData name="Anjali Jaisinghani" userId="cad40627-4d93-4324-b144-18a7e046d981" providerId="ADAL" clId="{33619D88-3F50-494B-83B9-988F8B17CC2F}" dt="2023-03-17T06:48:19.852" v="724" actId="478"/>
          <ac:spMkLst>
            <pc:docMk/>
            <pc:sldMk cId="3191430499" sldId="2147469706"/>
            <ac:spMk id="308" creationId="{66982CFF-5E2F-14A4-423D-E3D11078EAE3}"/>
          </ac:spMkLst>
        </pc:spChg>
        <pc:spChg chg="del mod topLvl">
          <ac:chgData name="Anjali Jaisinghani" userId="cad40627-4d93-4324-b144-18a7e046d981" providerId="ADAL" clId="{33619D88-3F50-494B-83B9-988F8B17CC2F}" dt="2023-03-17T07:16:19.149" v="825" actId="478"/>
          <ac:spMkLst>
            <pc:docMk/>
            <pc:sldMk cId="3191430499" sldId="2147469706"/>
            <ac:spMk id="312" creationId="{59C17FE2-FE31-4403-CE25-AE7C1265B179}"/>
          </ac:spMkLst>
        </pc:spChg>
        <pc:spChg chg="del mod topLvl">
          <ac:chgData name="Anjali Jaisinghani" userId="cad40627-4d93-4324-b144-18a7e046d981" providerId="ADAL" clId="{33619D88-3F50-494B-83B9-988F8B17CC2F}" dt="2023-03-17T06:41:33.020" v="649" actId="478"/>
          <ac:spMkLst>
            <pc:docMk/>
            <pc:sldMk cId="3191430499" sldId="2147469706"/>
            <ac:spMk id="313" creationId="{2495E26A-850F-C4D9-BA2D-49DDD0CD25C1}"/>
          </ac:spMkLst>
        </pc:spChg>
        <pc:spChg chg="mod">
          <ac:chgData name="Anjali Jaisinghani" userId="cad40627-4d93-4324-b144-18a7e046d981" providerId="ADAL" clId="{33619D88-3F50-494B-83B9-988F8B17CC2F}" dt="2023-03-20T08:01:54.906" v="7101" actId="1076"/>
          <ac:spMkLst>
            <pc:docMk/>
            <pc:sldMk cId="3191430499" sldId="2147469706"/>
            <ac:spMk id="328" creationId="{1FD582B4-249B-6B10-82ED-E897B7496333}"/>
          </ac:spMkLst>
        </pc:spChg>
        <pc:spChg chg="mod topLvl">
          <ac:chgData name="Anjali Jaisinghani" userId="cad40627-4d93-4324-b144-18a7e046d981" providerId="ADAL" clId="{33619D88-3F50-494B-83B9-988F8B17CC2F}" dt="2023-03-20T04:53:02.068" v="4730" actId="20577"/>
          <ac:spMkLst>
            <pc:docMk/>
            <pc:sldMk cId="3191430499" sldId="2147469706"/>
            <ac:spMk id="366" creationId="{6AFD0087-587C-ECF7-8AEA-64436FA9A1BB}"/>
          </ac:spMkLst>
        </pc:spChg>
        <pc:spChg chg="mod topLvl">
          <ac:chgData name="Anjali Jaisinghani" userId="cad40627-4d93-4324-b144-18a7e046d981" providerId="ADAL" clId="{33619D88-3F50-494B-83B9-988F8B17CC2F}" dt="2023-03-20T09:51:44.901" v="8222" actId="20577"/>
          <ac:spMkLst>
            <pc:docMk/>
            <pc:sldMk cId="3191430499" sldId="2147469706"/>
            <ac:spMk id="370" creationId="{103601ED-0698-37C1-F318-00AC78F56008}"/>
          </ac:spMkLst>
        </pc:spChg>
        <pc:spChg chg="mod topLvl">
          <ac:chgData name="Anjali Jaisinghani" userId="cad40627-4d93-4324-b144-18a7e046d981" providerId="ADAL" clId="{33619D88-3F50-494B-83B9-988F8B17CC2F}" dt="2023-03-20T06:12:25.840" v="6418" actId="20577"/>
          <ac:spMkLst>
            <pc:docMk/>
            <pc:sldMk cId="3191430499" sldId="2147469706"/>
            <ac:spMk id="412" creationId="{C8FA372F-9669-7C1F-94E3-E0D4BD63FD93}"/>
          </ac:spMkLst>
        </pc:spChg>
        <pc:spChg chg="mod topLvl">
          <ac:chgData name="Anjali Jaisinghani" userId="cad40627-4d93-4324-b144-18a7e046d981" providerId="ADAL" clId="{33619D88-3F50-494B-83B9-988F8B17CC2F}" dt="2023-03-20T06:11:05.880" v="6395" actId="1076"/>
          <ac:spMkLst>
            <pc:docMk/>
            <pc:sldMk cId="3191430499" sldId="2147469706"/>
            <ac:spMk id="417" creationId="{3A4E7562-B505-67BD-34D9-73606295CEA3}"/>
          </ac:spMkLst>
        </pc:spChg>
        <pc:spChg chg="mod topLvl">
          <ac:chgData name="Anjali Jaisinghani" userId="cad40627-4d93-4324-b144-18a7e046d981" providerId="ADAL" clId="{33619D88-3F50-494B-83B9-988F8B17CC2F}" dt="2023-03-20T06:13:14.894" v="6430" actId="164"/>
          <ac:spMkLst>
            <pc:docMk/>
            <pc:sldMk cId="3191430499" sldId="2147469706"/>
            <ac:spMk id="424" creationId="{E4727C73-0F0D-3B1E-511E-04939B7D99FA}"/>
          </ac:spMkLst>
        </pc:spChg>
        <pc:spChg chg="add mod">
          <ac:chgData name="Anjali Jaisinghani" userId="cad40627-4d93-4324-b144-18a7e046d981" providerId="ADAL" clId="{33619D88-3F50-494B-83B9-988F8B17CC2F}" dt="2023-03-17T06:37:54.186" v="601" actId="20577"/>
          <ac:spMkLst>
            <pc:docMk/>
            <pc:sldMk cId="3191430499" sldId="2147469706"/>
            <ac:spMk id="449" creationId="{058233D6-9919-8728-2742-CBA8ED0FB18E}"/>
          </ac:spMkLst>
        </pc:spChg>
        <pc:spChg chg="mod">
          <ac:chgData name="Anjali Jaisinghani" userId="cad40627-4d93-4324-b144-18a7e046d981" providerId="ADAL" clId="{33619D88-3F50-494B-83B9-988F8B17CC2F}" dt="2023-03-17T06:37:49.458" v="588"/>
          <ac:spMkLst>
            <pc:docMk/>
            <pc:sldMk cId="3191430499" sldId="2147469706"/>
            <ac:spMk id="461" creationId="{7FF35725-47AE-D1BE-9EA9-E5677DB8B032}"/>
          </ac:spMkLst>
        </pc:spChg>
        <pc:spChg chg="mod">
          <ac:chgData name="Anjali Jaisinghani" userId="cad40627-4d93-4324-b144-18a7e046d981" providerId="ADAL" clId="{33619D88-3F50-494B-83B9-988F8B17CC2F}" dt="2023-03-17T06:37:59.381" v="604" actId="6549"/>
          <ac:spMkLst>
            <pc:docMk/>
            <pc:sldMk cId="3191430499" sldId="2147469706"/>
            <ac:spMk id="462" creationId="{74C052DB-A90C-CBF9-AE60-A80AD32AEF5E}"/>
          </ac:spMkLst>
        </pc:spChg>
        <pc:spChg chg="mod">
          <ac:chgData name="Anjali Jaisinghani" userId="cad40627-4d93-4324-b144-18a7e046d981" providerId="ADAL" clId="{33619D88-3F50-494B-83B9-988F8B17CC2F}" dt="2023-03-17T06:37:49.712" v="589"/>
          <ac:spMkLst>
            <pc:docMk/>
            <pc:sldMk cId="3191430499" sldId="2147469706"/>
            <ac:spMk id="464" creationId="{B91C7E27-8DA1-C2AB-4CE5-B23E0FCA012C}"/>
          </ac:spMkLst>
        </pc:spChg>
        <pc:spChg chg="mod">
          <ac:chgData name="Anjali Jaisinghani" userId="cad40627-4d93-4324-b144-18a7e046d981" providerId="ADAL" clId="{33619D88-3F50-494B-83B9-988F8B17CC2F}" dt="2023-03-17T06:38:03.612" v="607" actId="20577"/>
          <ac:spMkLst>
            <pc:docMk/>
            <pc:sldMk cId="3191430499" sldId="2147469706"/>
            <ac:spMk id="465" creationId="{C3A0BB8F-F472-989D-77C5-A5A6484C4E40}"/>
          </ac:spMkLst>
        </pc:spChg>
        <pc:spChg chg="mod">
          <ac:chgData name="Anjali Jaisinghani" userId="cad40627-4d93-4324-b144-18a7e046d981" providerId="ADAL" clId="{33619D88-3F50-494B-83B9-988F8B17CC2F}" dt="2023-03-17T06:37:49.877" v="590"/>
          <ac:spMkLst>
            <pc:docMk/>
            <pc:sldMk cId="3191430499" sldId="2147469706"/>
            <ac:spMk id="467" creationId="{8EE332E0-4484-4788-CB13-EF7B461D36CC}"/>
          </ac:spMkLst>
        </pc:spChg>
        <pc:spChg chg="mod">
          <ac:chgData name="Anjali Jaisinghani" userId="cad40627-4d93-4324-b144-18a7e046d981" providerId="ADAL" clId="{33619D88-3F50-494B-83B9-988F8B17CC2F}" dt="2023-03-17T06:38:07.592" v="608" actId="20577"/>
          <ac:spMkLst>
            <pc:docMk/>
            <pc:sldMk cId="3191430499" sldId="2147469706"/>
            <ac:spMk id="468" creationId="{C79A6998-1B6F-4B7D-7A12-8EFEE9703BCF}"/>
          </ac:spMkLst>
        </pc:spChg>
        <pc:spChg chg="mod">
          <ac:chgData name="Anjali Jaisinghani" userId="cad40627-4d93-4324-b144-18a7e046d981" providerId="ADAL" clId="{33619D88-3F50-494B-83B9-988F8B17CC2F}" dt="2023-03-17T06:37:50.087" v="591"/>
          <ac:spMkLst>
            <pc:docMk/>
            <pc:sldMk cId="3191430499" sldId="2147469706"/>
            <ac:spMk id="470" creationId="{BFE51F21-E404-3CC2-7DE3-42230B965B49}"/>
          </ac:spMkLst>
        </pc:spChg>
        <pc:spChg chg="mod">
          <ac:chgData name="Anjali Jaisinghani" userId="cad40627-4d93-4324-b144-18a7e046d981" providerId="ADAL" clId="{33619D88-3F50-494B-83B9-988F8B17CC2F}" dt="2023-03-17T06:38:11.840" v="609" actId="20577"/>
          <ac:spMkLst>
            <pc:docMk/>
            <pc:sldMk cId="3191430499" sldId="2147469706"/>
            <ac:spMk id="471" creationId="{DB8EB65C-D5BE-EA5E-52F1-24D9862EDB4E}"/>
          </ac:spMkLst>
        </pc:spChg>
        <pc:spChg chg="mod">
          <ac:chgData name="Anjali Jaisinghani" userId="cad40627-4d93-4324-b144-18a7e046d981" providerId="ADAL" clId="{33619D88-3F50-494B-83B9-988F8B17CC2F}" dt="2023-03-17T06:37:50.277" v="592"/>
          <ac:spMkLst>
            <pc:docMk/>
            <pc:sldMk cId="3191430499" sldId="2147469706"/>
            <ac:spMk id="473" creationId="{23511BFD-F4FB-DD68-9855-DD7B72FC5A25}"/>
          </ac:spMkLst>
        </pc:spChg>
        <pc:spChg chg="mod">
          <ac:chgData name="Anjali Jaisinghani" userId="cad40627-4d93-4324-b144-18a7e046d981" providerId="ADAL" clId="{33619D88-3F50-494B-83B9-988F8B17CC2F}" dt="2023-03-17T06:38:16.113" v="610" actId="20577"/>
          <ac:spMkLst>
            <pc:docMk/>
            <pc:sldMk cId="3191430499" sldId="2147469706"/>
            <ac:spMk id="474" creationId="{3FB727F1-6009-1ECB-B7E4-F312258F3027}"/>
          </ac:spMkLst>
        </pc:spChg>
        <pc:spChg chg="mod">
          <ac:chgData name="Anjali Jaisinghani" userId="cad40627-4d93-4324-b144-18a7e046d981" providerId="ADAL" clId="{33619D88-3F50-494B-83B9-988F8B17CC2F}" dt="2023-03-17T06:37:50.466" v="593"/>
          <ac:spMkLst>
            <pc:docMk/>
            <pc:sldMk cId="3191430499" sldId="2147469706"/>
            <ac:spMk id="476" creationId="{880134FA-7594-3F65-5855-BC5D412F8992}"/>
          </ac:spMkLst>
        </pc:spChg>
        <pc:spChg chg="mod">
          <ac:chgData name="Anjali Jaisinghani" userId="cad40627-4d93-4324-b144-18a7e046d981" providerId="ADAL" clId="{33619D88-3F50-494B-83B9-988F8B17CC2F}" dt="2023-03-17T06:38:19.981" v="611" actId="20577"/>
          <ac:spMkLst>
            <pc:docMk/>
            <pc:sldMk cId="3191430499" sldId="2147469706"/>
            <ac:spMk id="477" creationId="{121B787F-F067-7BEA-CBC4-1C149533FF34}"/>
          </ac:spMkLst>
        </pc:spChg>
        <pc:spChg chg="mod">
          <ac:chgData name="Anjali Jaisinghani" userId="cad40627-4d93-4324-b144-18a7e046d981" providerId="ADAL" clId="{33619D88-3F50-494B-83B9-988F8B17CC2F}" dt="2023-03-17T06:37:50.686" v="594"/>
          <ac:spMkLst>
            <pc:docMk/>
            <pc:sldMk cId="3191430499" sldId="2147469706"/>
            <ac:spMk id="479" creationId="{6B704349-FDEC-3D35-89D1-B1D4563ECB4E}"/>
          </ac:spMkLst>
        </pc:spChg>
        <pc:spChg chg="mod">
          <ac:chgData name="Anjali Jaisinghani" userId="cad40627-4d93-4324-b144-18a7e046d981" providerId="ADAL" clId="{33619D88-3F50-494B-83B9-988F8B17CC2F}" dt="2023-03-17T06:38:27.802" v="612" actId="20577"/>
          <ac:spMkLst>
            <pc:docMk/>
            <pc:sldMk cId="3191430499" sldId="2147469706"/>
            <ac:spMk id="480" creationId="{21218207-A46D-2F3C-919A-7F5C40CCC6B0}"/>
          </ac:spMkLst>
        </pc:spChg>
        <pc:spChg chg="mod">
          <ac:chgData name="Anjali Jaisinghani" userId="cad40627-4d93-4324-b144-18a7e046d981" providerId="ADAL" clId="{33619D88-3F50-494B-83B9-988F8B17CC2F}" dt="2023-03-17T06:49:29.988" v="737" actId="165"/>
          <ac:spMkLst>
            <pc:docMk/>
            <pc:sldMk cId="3191430499" sldId="2147469706"/>
            <ac:spMk id="483" creationId="{1FD7919E-4800-A81A-ABD5-82537CC774F8}"/>
          </ac:spMkLst>
        </pc:spChg>
        <pc:spChg chg="mod">
          <ac:chgData name="Anjali Jaisinghani" userId="cad40627-4d93-4324-b144-18a7e046d981" providerId="ADAL" clId="{33619D88-3F50-494B-83B9-988F8B17CC2F}" dt="2023-03-17T06:49:29.988" v="737" actId="165"/>
          <ac:spMkLst>
            <pc:docMk/>
            <pc:sldMk cId="3191430499" sldId="2147469706"/>
            <ac:spMk id="484" creationId="{51AC3EB2-8E4A-CAA2-AD0D-7D7FF5746759}"/>
          </ac:spMkLst>
        </pc:spChg>
        <pc:spChg chg="del mod topLvl">
          <ac:chgData name="Anjali Jaisinghani" userId="cad40627-4d93-4324-b144-18a7e046d981" providerId="ADAL" clId="{33619D88-3F50-494B-83B9-988F8B17CC2F}" dt="2023-03-17T06:48:01.690" v="721" actId="478"/>
          <ac:spMkLst>
            <pc:docMk/>
            <pc:sldMk cId="3191430499" sldId="2147469706"/>
            <ac:spMk id="486" creationId="{A859A631-F390-74E6-0B4E-E6CC330F26F7}"/>
          </ac:spMkLst>
        </pc:spChg>
        <pc:spChg chg="del mod">
          <ac:chgData name="Anjali Jaisinghani" userId="cad40627-4d93-4324-b144-18a7e046d981" providerId="ADAL" clId="{33619D88-3F50-494B-83B9-988F8B17CC2F}" dt="2023-03-17T06:47:55.571" v="720" actId="478"/>
          <ac:spMkLst>
            <pc:docMk/>
            <pc:sldMk cId="3191430499" sldId="2147469706"/>
            <ac:spMk id="487" creationId="{B443CE38-32DD-6B03-FC2A-18EAD26C4BAD}"/>
          </ac:spMkLst>
        </pc:spChg>
        <pc:spChg chg="mod">
          <ac:chgData name="Anjali Jaisinghani" userId="cad40627-4d93-4324-b144-18a7e046d981" providerId="ADAL" clId="{33619D88-3F50-494B-83B9-988F8B17CC2F}" dt="2023-03-17T06:37:50.870" v="595"/>
          <ac:spMkLst>
            <pc:docMk/>
            <pc:sldMk cId="3191430499" sldId="2147469706"/>
            <ac:spMk id="488" creationId="{2B14206F-011A-92B7-7E81-89E45242DC1E}"/>
          </ac:spMkLst>
        </pc:spChg>
        <pc:spChg chg="mod">
          <ac:chgData name="Anjali Jaisinghani" userId="cad40627-4d93-4324-b144-18a7e046d981" providerId="ADAL" clId="{33619D88-3F50-494B-83B9-988F8B17CC2F}" dt="2023-03-17T06:38:31.611" v="613" actId="20577"/>
          <ac:spMkLst>
            <pc:docMk/>
            <pc:sldMk cId="3191430499" sldId="2147469706"/>
            <ac:spMk id="489" creationId="{36ED1611-735C-BBF9-31B4-6E38A6AD09F0}"/>
          </ac:spMkLst>
        </pc:spChg>
        <pc:spChg chg="mod">
          <ac:chgData name="Anjali Jaisinghani" userId="cad40627-4d93-4324-b144-18a7e046d981" providerId="ADAL" clId="{33619D88-3F50-494B-83B9-988F8B17CC2F}" dt="2023-03-17T06:37:51.112" v="596"/>
          <ac:spMkLst>
            <pc:docMk/>
            <pc:sldMk cId="3191430499" sldId="2147469706"/>
            <ac:spMk id="491" creationId="{FF6DCC7A-72C5-67C6-74F4-2628C125C1D1}"/>
          </ac:spMkLst>
        </pc:spChg>
        <pc:spChg chg="mod">
          <ac:chgData name="Anjali Jaisinghani" userId="cad40627-4d93-4324-b144-18a7e046d981" providerId="ADAL" clId="{33619D88-3F50-494B-83B9-988F8B17CC2F}" dt="2023-03-17T06:37:51.112" v="596"/>
          <ac:spMkLst>
            <pc:docMk/>
            <pc:sldMk cId="3191430499" sldId="2147469706"/>
            <ac:spMk id="492" creationId="{1F189109-EBEA-AA46-97B3-0C9F73B78F29}"/>
          </ac:spMkLst>
        </pc:spChg>
        <pc:spChg chg="mod">
          <ac:chgData name="Anjali Jaisinghani" userId="cad40627-4d93-4324-b144-18a7e046d981" providerId="ADAL" clId="{33619D88-3F50-494B-83B9-988F8B17CC2F}" dt="2023-03-17T06:49:10.059" v="734" actId="165"/>
          <ac:spMkLst>
            <pc:docMk/>
            <pc:sldMk cId="3191430499" sldId="2147469706"/>
            <ac:spMk id="495" creationId="{08C222B6-7D6E-BB9F-2758-B1085E80D934}"/>
          </ac:spMkLst>
        </pc:spChg>
        <pc:spChg chg="mod">
          <ac:chgData name="Anjali Jaisinghani" userId="cad40627-4d93-4324-b144-18a7e046d981" providerId="ADAL" clId="{33619D88-3F50-494B-83B9-988F8B17CC2F}" dt="2023-03-17T06:49:10.059" v="734" actId="165"/>
          <ac:spMkLst>
            <pc:docMk/>
            <pc:sldMk cId="3191430499" sldId="2147469706"/>
            <ac:spMk id="496" creationId="{2A2B3C69-8969-E96C-28F4-2B7D8CBDFFED}"/>
          </ac:spMkLst>
        </pc:spChg>
        <pc:spChg chg="mod">
          <ac:chgData name="Anjali Jaisinghani" userId="cad40627-4d93-4324-b144-18a7e046d981" providerId="ADAL" clId="{33619D88-3F50-494B-83B9-988F8B17CC2F}" dt="2023-03-17T06:37:51.347" v="597"/>
          <ac:spMkLst>
            <pc:docMk/>
            <pc:sldMk cId="3191430499" sldId="2147469706"/>
            <ac:spMk id="497" creationId="{910937A1-960B-16AD-5760-F6E107CEB486}"/>
          </ac:spMkLst>
        </pc:spChg>
        <pc:spChg chg="mod">
          <ac:chgData name="Anjali Jaisinghani" userId="cad40627-4d93-4324-b144-18a7e046d981" providerId="ADAL" clId="{33619D88-3F50-494B-83B9-988F8B17CC2F}" dt="2023-03-17T06:37:51.347" v="597"/>
          <ac:spMkLst>
            <pc:docMk/>
            <pc:sldMk cId="3191430499" sldId="2147469706"/>
            <ac:spMk id="499" creationId="{6F5BC600-B3B4-A2CA-B7A9-A5C690F03A7E}"/>
          </ac:spMkLst>
        </pc:spChg>
        <pc:spChg chg="mod">
          <ac:chgData name="Anjali Jaisinghani" userId="cad40627-4d93-4324-b144-18a7e046d981" providerId="ADAL" clId="{33619D88-3F50-494B-83B9-988F8B17CC2F}" dt="2023-03-17T06:37:51.574" v="598"/>
          <ac:spMkLst>
            <pc:docMk/>
            <pc:sldMk cId="3191430499" sldId="2147469706"/>
            <ac:spMk id="501" creationId="{EA66F8A4-490C-B597-5FBA-890E4B1E1D47}"/>
          </ac:spMkLst>
        </pc:spChg>
        <pc:spChg chg="mod">
          <ac:chgData name="Anjali Jaisinghani" userId="cad40627-4d93-4324-b144-18a7e046d981" providerId="ADAL" clId="{33619D88-3F50-494B-83B9-988F8B17CC2F}" dt="2023-03-17T06:37:51.574" v="598"/>
          <ac:spMkLst>
            <pc:docMk/>
            <pc:sldMk cId="3191430499" sldId="2147469706"/>
            <ac:spMk id="503" creationId="{ED06C34D-92D4-F754-C38A-75BB219136B4}"/>
          </ac:spMkLst>
        </pc:spChg>
        <pc:spChg chg="mod">
          <ac:chgData name="Anjali Jaisinghani" userId="cad40627-4d93-4324-b144-18a7e046d981" providerId="ADAL" clId="{33619D88-3F50-494B-83B9-988F8B17CC2F}" dt="2023-03-17T06:37:51.800" v="599"/>
          <ac:spMkLst>
            <pc:docMk/>
            <pc:sldMk cId="3191430499" sldId="2147469706"/>
            <ac:spMk id="505" creationId="{0FEB1CE7-8BBC-D990-C1FC-D33CC0AD37E1}"/>
          </ac:spMkLst>
        </pc:spChg>
        <pc:spChg chg="mod">
          <ac:chgData name="Anjali Jaisinghani" userId="cad40627-4d93-4324-b144-18a7e046d981" providerId="ADAL" clId="{33619D88-3F50-494B-83B9-988F8B17CC2F}" dt="2023-03-17T06:37:51.800" v="599"/>
          <ac:spMkLst>
            <pc:docMk/>
            <pc:sldMk cId="3191430499" sldId="2147469706"/>
            <ac:spMk id="506" creationId="{2239C179-BD26-108A-CF2E-73C37B173FF8}"/>
          </ac:spMkLst>
        </pc:spChg>
        <pc:spChg chg="mod">
          <ac:chgData name="Anjali Jaisinghani" userId="cad40627-4d93-4324-b144-18a7e046d981" providerId="ADAL" clId="{33619D88-3F50-494B-83B9-988F8B17CC2F}" dt="2023-03-17T06:37:52.028" v="600"/>
          <ac:spMkLst>
            <pc:docMk/>
            <pc:sldMk cId="3191430499" sldId="2147469706"/>
            <ac:spMk id="509" creationId="{15D2E60E-BF5D-B08E-A3C8-5CB12C23CA63}"/>
          </ac:spMkLst>
        </pc:spChg>
        <pc:spChg chg="mod">
          <ac:chgData name="Anjali Jaisinghani" userId="cad40627-4d93-4324-b144-18a7e046d981" providerId="ADAL" clId="{33619D88-3F50-494B-83B9-988F8B17CC2F}" dt="2023-03-17T06:37:52.028" v="600"/>
          <ac:spMkLst>
            <pc:docMk/>
            <pc:sldMk cId="3191430499" sldId="2147469706"/>
            <ac:spMk id="510" creationId="{7852543B-2C53-880C-6A70-2C08DCEC7499}"/>
          </ac:spMkLst>
        </pc:spChg>
        <pc:spChg chg="add mod">
          <ac:chgData name="Anjali Jaisinghani" userId="cad40627-4d93-4324-b144-18a7e046d981" providerId="ADAL" clId="{33619D88-3F50-494B-83B9-988F8B17CC2F}" dt="2023-03-20T08:01:54.906" v="7101" actId="1076"/>
          <ac:spMkLst>
            <pc:docMk/>
            <pc:sldMk cId="3191430499" sldId="2147469706"/>
            <ac:spMk id="514" creationId="{D5DF5F30-F100-AC02-5318-E85031309012}"/>
          </ac:spMkLst>
        </pc:spChg>
        <pc:spChg chg="mod">
          <ac:chgData name="Anjali Jaisinghani" userId="cad40627-4d93-4324-b144-18a7e046d981" providerId="ADAL" clId="{33619D88-3F50-494B-83B9-988F8B17CC2F}" dt="2023-03-20T05:09:55.047" v="5183"/>
          <ac:spMkLst>
            <pc:docMk/>
            <pc:sldMk cId="3191430499" sldId="2147469706"/>
            <ac:spMk id="516" creationId="{2AC96ACF-39F9-D797-F279-390F782ECB74}"/>
          </ac:spMkLst>
        </pc:spChg>
        <pc:spChg chg="mod">
          <ac:chgData name="Anjali Jaisinghani" userId="cad40627-4d93-4324-b144-18a7e046d981" providerId="ADAL" clId="{33619D88-3F50-494B-83B9-988F8B17CC2F}" dt="2023-03-20T05:10:20.367" v="5191" actId="20577"/>
          <ac:spMkLst>
            <pc:docMk/>
            <pc:sldMk cId="3191430499" sldId="2147469706"/>
            <ac:spMk id="517" creationId="{9EA3CE4B-9AC1-C7BA-E7F0-5C09C9E5DA5F}"/>
          </ac:spMkLst>
        </pc:spChg>
        <pc:spChg chg="mod">
          <ac:chgData name="Anjali Jaisinghani" userId="cad40627-4d93-4324-b144-18a7e046d981" providerId="ADAL" clId="{33619D88-3F50-494B-83B9-988F8B17CC2F}" dt="2023-03-17T06:48:38.289" v="727" actId="165"/>
          <ac:spMkLst>
            <pc:docMk/>
            <pc:sldMk cId="3191430499" sldId="2147469706"/>
            <ac:spMk id="518" creationId="{81641A0E-9F63-3728-79BC-1798259C7671}"/>
          </ac:spMkLst>
        </pc:spChg>
        <pc:spChg chg="mod">
          <ac:chgData name="Anjali Jaisinghani" userId="cad40627-4d93-4324-b144-18a7e046d981" providerId="ADAL" clId="{33619D88-3F50-494B-83B9-988F8B17CC2F}" dt="2023-03-17T06:48:38.289" v="727" actId="165"/>
          <ac:spMkLst>
            <pc:docMk/>
            <pc:sldMk cId="3191430499" sldId="2147469706"/>
            <ac:spMk id="519" creationId="{D3D43EB4-C74F-805C-3A69-C0E94840FB2F}"/>
          </ac:spMkLst>
        </pc:spChg>
        <pc:spChg chg="mod">
          <ac:chgData name="Anjali Jaisinghani" userId="cad40627-4d93-4324-b144-18a7e046d981" providerId="ADAL" clId="{33619D88-3F50-494B-83B9-988F8B17CC2F}" dt="2023-03-17T06:48:28.496" v="725" actId="165"/>
          <ac:spMkLst>
            <pc:docMk/>
            <pc:sldMk cId="3191430499" sldId="2147469706"/>
            <ac:spMk id="524" creationId="{B3E41FE7-9120-E40A-AC85-3D2C495839C3}"/>
          </ac:spMkLst>
        </pc:spChg>
        <pc:spChg chg="mod">
          <ac:chgData name="Anjali Jaisinghani" userId="cad40627-4d93-4324-b144-18a7e046d981" providerId="ADAL" clId="{33619D88-3F50-494B-83B9-988F8B17CC2F}" dt="2023-03-17T06:48:28.496" v="725" actId="165"/>
          <ac:spMkLst>
            <pc:docMk/>
            <pc:sldMk cId="3191430499" sldId="2147469706"/>
            <ac:spMk id="525" creationId="{0AD2A05D-F914-8630-A00A-C1F1DE24FC09}"/>
          </ac:spMkLst>
        </pc:spChg>
        <pc:spChg chg="mod">
          <ac:chgData name="Anjali Jaisinghani" userId="cad40627-4d93-4324-b144-18a7e046d981" providerId="ADAL" clId="{33619D88-3F50-494B-83B9-988F8B17CC2F}" dt="2023-03-20T09:54:36.732" v="8233" actId="1076"/>
          <ac:spMkLst>
            <pc:docMk/>
            <pc:sldMk cId="3191430499" sldId="2147469706"/>
            <ac:spMk id="526" creationId="{252AF4DF-7C2C-84F9-F74A-90D7BC2B62F1}"/>
          </ac:spMkLst>
        </pc:spChg>
        <pc:spChg chg="mod">
          <ac:chgData name="Anjali Jaisinghani" userId="cad40627-4d93-4324-b144-18a7e046d981" providerId="ADAL" clId="{33619D88-3F50-494B-83B9-988F8B17CC2F}" dt="2023-03-20T05:11:44.049" v="5199"/>
          <ac:spMkLst>
            <pc:docMk/>
            <pc:sldMk cId="3191430499" sldId="2147469706"/>
            <ac:spMk id="528" creationId="{A0BAEA7D-DB31-902A-9F15-44BAF0799EEF}"/>
          </ac:spMkLst>
        </pc:spChg>
        <pc:spChg chg="mod topLvl">
          <ac:chgData name="Anjali Jaisinghani" userId="cad40627-4d93-4324-b144-18a7e046d981" providerId="ADAL" clId="{33619D88-3F50-494B-83B9-988F8B17CC2F}" dt="2023-03-17T07:27:23.938" v="943" actId="14100"/>
          <ac:spMkLst>
            <pc:docMk/>
            <pc:sldMk cId="3191430499" sldId="2147469706"/>
            <ac:spMk id="529" creationId="{3A7AC399-BD25-039F-C140-018CC216DACA}"/>
          </ac:spMkLst>
        </pc:spChg>
        <pc:spChg chg="mod">
          <ac:chgData name="Anjali Jaisinghani" userId="cad40627-4d93-4324-b144-18a7e046d981" providerId="ADAL" clId="{33619D88-3F50-494B-83B9-988F8B17CC2F}" dt="2023-03-20T05:12:34.724" v="5212" actId="14100"/>
          <ac:spMkLst>
            <pc:docMk/>
            <pc:sldMk cId="3191430499" sldId="2147469706"/>
            <ac:spMk id="530" creationId="{23198F84-FC48-7B11-8656-4799D3B2660B}"/>
          </ac:spMkLst>
        </pc:spChg>
        <pc:spChg chg="mod">
          <ac:chgData name="Anjali Jaisinghani" userId="cad40627-4d93-4324-b144-18a7e046d981" providerId="ADAL" clId="{33619D88-3F50-494B-83B9-988F8B17CC2F}" dt="2023-03-17T06:48:45.733" v="729" actId="165"/>
          <ac:spMkLst>
            <pc:docMk/>
            <pc:sldMk cId="3191430499" sldId="2147469706"/>
            <ac:spMk id="531" creationId="{3B8D9D87-E424-29C9-02C8-E2609044D0BA}"/>
          </ac:spMkLst>
        </pc:spChg>
        <pc:spChg chg="mod">
          <ac:chgData name="Anjali Jaisinghani" userId="cad40627-4d93-4324-b144-18a7e046d981" providerId="ADAL" clId="{33619D88-3F50-494B-83B9-988F8B17CC2F}" dt="2023-03-17T06:48:45.733" v="729" actId="165"/>
          <ac:spMkLst>
            <pc:docMk/>
            <pc:sldMk cId="3191430499" sldId="2147469706"/>
            <ac:spMk id="532" creationId="{D0BE91AE-7DC1-9D32-EF7C-49EAAA6B3DA0}"/>
          </ac:spMkLst>
        </pc:spChg>
        <pc:spChg chg="mod topLvl">
          <ac:chgData name="Anjali Jaisinghani" userId="cad40627-4d93-4324-b144-18a7e046d981" providerId="ADAL" clId="{33619D88-3F50-494B-83B9-988F8B17CC2F}" dt="2023-03-17T07:29:19.587" v="967" actId="164"/>
          <ac:spMkLst>
            <pc:docMk/>
            <pc:sldMk cId="3191430499" sldId="2147469706"/>
            <ac:spMk id="536" creationId="{FA1B7D08-2F5E-9BED-6CF1-19785E068D52}"/>
          </ac:spMkLst>
        </pc:spChg>
        <pc:spChg chg="mod">
          <ac:chgData name="Anjali Jaisinghani" userId="cad40627-4d93-4324-b144-18a7e046d981" providerId="ADAL" clId="{33619D88-3F50-494B-83B9-988F8B17CC2F}" dt="2023-03-17T06:48:56.625" v="731" actId="165"/>
          <ac:spMkLst>
            <pc:docMk/>
            <pc:sldMk cId="3191430499" sldId="2147469706"/>
            <ac:spMk id="538" creationId="{CD31D197-0BC5-3EAA-D35F-4BEA0785790E}"/>
          </ac:spMkLst>
        </pc:spChg>
        <pc:spChg chg="mod">
          <ac:chgData name="Anjali Jaisinghani" userId="cad40627-4d93-4324-b144-18a7e046d981" providerId="ADAL" clId="{33619D88-3F50-494B-83B9-988F8B17CC2F}" dt="2023-03-17T06:48:56.625" v="731" actId="165"/>
          <ac:spMkLst>
            <pc:docMk/>
            <pc:sldMk cId="3191430499" sldId="2147469706"/>
            <ac:spMk id="539" creationId="{347A4B5D-F4C7-4BFE-C3F1-BF2211A8A614}"/>
          </ac:spMkLst>
        </pc:spChg>
        <pc:spChg chg="add mod">
          <ac:chgData name="Anjali Jaisinghani" userId="cad40627-4d93-4324-b144-18a7e046d981" providerId="ADAL" clId="{33619D88-3F50-494B-83B9-988F8B17CC2F}" dt="2023-03-20T08:07:02.069" v="7246" actId="14100"/>
          <ac:spMkLst>
            <pc:docMk/>
            <pc:sldMk cId="3191430499" sldId="2147469706"/>
            <ac:spMk id="562" creationId="{677ABF34-9041-C43C-5609-4432FB94ED4A}"/>
          </ac:spMkLst>
        </pc:spChg>
        <pc:spChg chg="mod">
          <ac:chgData name="Anjali Jaisinghani" userId="cad40627-4d93-4324-b144-18a7e046d981" providerId="ADAL" clId="{33619D88-3F50-494B-83B9-988F8B17CC2F}" dt="2023-03-17T06:53:43.763" v="785"/>
          <ac:spMkLst>
            <pc:docMk/>
            <pc:sldMk cId="3191430499" sldId="2147469706"/>
            <ac:spMk id="565" creationId="{A7A9BF92-2263-B6EF-32F3-2C5829C01E6B}"/>
          </ac:spMkLst>
        </pc:spChg>
        <pc:spChg chg="mod">
          <ac:chgData name="Anjali Jaisinghani" userId="cad40627-4d93-4324-b144-18a7e046d981" providerId="ADAL" clId="{33619D88-3F50-494B-83B9-988F8B17CC2F}" dt="2023-03-17T06:53:46.685" v="788" actId="20577"/>
          <ac:spMkLst>
            <pc:docMk/>
            <pc:sldMk cId="3191430499" sldId="2147469706"/>
            <ac:spMk id="566" creationId="{1B893AF5-E65A-7452-34EC-39CD97C7D87E}"/>
          </ac:spMkLst>
        </pc:spChg>
        <pc:spChg chg="mod">
          <ac:chgData name="Anjali Jaisinghani" userId="cad40627-4d93-4324-b144-18a7e046d981" providerId="ADAL" clId="{33619D88-3F50-494B-83B9-988F8B17CC2F}" dt="2023-03-17T07:13:30.112" v="791"/>
          <ac:spMkLst>
            <pc:docMk/>
            <pc:sldMk cId="3191430499" sldId="2147469706"/>
            <ac:spMk id="568" creationId="{92AFC63B-DDBD-58AA-4D34-B0F961247029}"/>
          </ac:spMkLst>
        </pc:spChg>
        <pc:spChg chg="mod">
          <ac:chgData name="Anjali Jaisinghani" userId="cad40627-4d93-4324-b144-18a7e046d981" providerId="ADAL" clId="{33619D88-3F50-494B-83B9-988F8B17CC2F}" dt="2023-03-17T07:13:46.129" v="795" actId="20577"/>
          <ac:spMkLst>
            <pc:docMk/>
            <pc:sldMk cId="3191430499" sldId="2147469706"/>
            <ac:spMk id="569" creationId="{28C8F65F-FDB5-BF2C-A401-B27FFA5EF31A}"/>
          </ac:spMkLst>
        </pc:spChg>
        <pc:spChg chg="mod">
          <ac:chgData name="Anjali Jaisinghani" userId="cad40627-4d93-4324-b144-18a7e046d981" providerId="ADAL" clId="{33619D88-3F50-494B-83B9-988F8B17CC2F}" dt="2023-03-17T07:13:55.606" v="797"/>
          <ac:spMkLst>
            <pc:docMk/>
            <pc:sldMk cId="3191430499" sldId="2147469706"/>
            <ac:spMk id="571" creationId="{1DE289EC-B705-A7B5-4EA2-9F6185423DE4}"/>
          </ac:spMkLst>
        </pc:spChg>
        <pc:spChg chg="mod">
          <ac:chgData name="Anjali Jaisinghani" userId="cad40627-4d93-4324-b144-18a7e046d981" providerId="ADAL" clId="{33619D88-3F50-494B-83B9-988F8B17CC2F}" dt="2023-03-17T07:29:29.343" v="969" actId="20577"/>
          <ac:spMkLst>
            <pc:docMk/>
            <pc:sldMk cId="3191430499" sldId="2147469706"/>
            <ac:spMk id="572" creationId="{3B085E74-377C-EEB9-ACB8-666BB60104D9}"/>
          </ac:spMkLst>
        </pc:spChg>
        <pc:spChg chg="mod">
          <ac:chgData name="Anjali Jaisinghani" userId="cad40627-4d93-4324-b144-18a7e046d981" providerId="ADAL" clId="{33619D88-3F50-494B-83B9-988F8B17CC2F}" dt="2023-03-17T07:14:31.416" v="804"/>
          <ac:spMkLst>
            <pc:docMk/>
            <pc:sldMk cId="3191430499" sldId="2147469706"/>
            <ac:spMk id="574" creationId="{BD72620A-DE31-2F26-A6F2-9021AF6B6736}"/>
          </ac:spMkLst>
        </pc:spChg>
        <pc:spChg chg="mod">
          <ac:chgData name="Anjali Jaisinghani" userId="cad40627-4d93-4324-b144-18a7e046d981" providerId="ADAL" clId="{33619D88-3F50-494B-83B9-988F8B17CC2F}" dt="2023-03-17T07:29:35.473" v="972" actId="20577"/>
          <ac:spMkLst>
            <pc:docMk/>
            <pc:sldMk cId="3191430499" sldId="2147469706"/>
            <ac:spMk id="575" creationId="{70BBB358-6654-093B-FE14-0ACA5075991E}"/>
          </ac:spMkLst>
        </pc:spChg>
        <pc:spChg chg="mod">
          <ac:chgData name="Anjali Jaisinghani" userId="cad40627-4d93-4324-b144-18a7e046d981" providerId="ADAL" clId="{33619D88-3F50-494B-83B9-988F8B17CC2F}" dt="2023-03-17T14:17:11.352" v="4577" actId="1076"/>
          <ac:spMkLst>
            <pc:docMk/>
            <pc:sldMk cId="3191430499" sldId="2147469706"/>
            <ac:spMk id="647" creationId="{E8BD62A3-36AE-CAED-C2D3-02B290393329}"/>
          </ac:spMkLst>
        </pc:spChg>
        <pc:spChg chg="mod">
          <ac:chgData name="Anjali Jaisinghani" userId="cad40627-4d93-4324-b144-18a7e046d981" providerId="ADAL" clId="{33619D88-3F50-494B-83B9-988F8B17CC2F}" dt="2023-03-17T07:23:24.479" v="902" actId="255"/>
          <ac:spMkLst>
            <pc:docMk/>
            <pc:sldMk cId="3191430499" sldId="2147469706"/>
            <ac:spMk id="661" creationId="{A4D2CF2E-5D49-422E-4919-909EE88DFDB7}"/>
          </ac:spMkLst>
        </pc:spChg>
        <pc:spChg chg="del mod ord">
          <ac:chgData name="Anjali Jaisinghani" userId="cad40627-4d93-4324-b144-18a7e046d981" providerId="ADAL" clId="{33619D88-3F50-494B-83B9-988F8B17CC2F}" dt="2023-03-20T06:14:58.948" v="6444" actId="478"/>
          <ac:spMkLst>
            <pc:docMk/>
            <pc:sldMk cId="3191430499" sldId="2147469706"/>
            <ac:spMk id="664" creationId="{A21A603B-C48D-A0CF-1AC6-A593BA773C36}"/>
          </ac:spMkLst>
        </pc:spChg>
        <pc:spChg chg="mod">
          <ac:chgData name="Anjali Jaisinghani" userId="cad40627-4d93-4324-b144-18a7e046d981" providerId="ADAL" clId="{33619D88-3F50-494B-83B9-988F8B17CC2F}" dt="2023-03-17T06:39:50.703" v="632" actId="20577"/>
          <ac:spMkLst>
            <pc:docMk/>
            <pc:sldMk cId="3191430499" sldId="2147469706"/>
            <ac:spMk id="671" creationId="{6C38604E-349C-0225-1E36-F28E8C5FDDE1}"/>
          </ac:spMkLst>
        </pc:spChg>
        <pc:grpChg chg="add mod">
          <ac:chgData name="Anjali Jaisinghani" userId="cad40627-4d93-4324-b144-18a7e046d981" providerId="ADAL" clId="{33619D88-3F50-494B-83B9-988F8B17CC2F}" dt="2023-03-20T08:01:54.906" v="7101" actId="1076"/>
          <ac:grpSpMkLst>
            <pc:docMk/>
            <pc:sldMk cId="3191430499" sldId="2147469706"/>
            <ac:grpSpMk id="6" creationId="{9D42FB8C-7585-1F8A-5FF4-40584E7E6621}"/>
          </ac:grpSpMkLst>
        </pc:grpChg>
        <pc:grpChg chg="mod">
          <ac:chgData name="Anjali Jaisinghani" userId="cad40627-4d93-4324-b144-18a7e046d981" providerId="ADAL" clId="{33619D88-3F50-494B-83B9-988F8B17CC2F}" dt="2023-03-20T04:44:38.986" v="4611"/>
          <ac:grpSpMkLst>
            <pc:docMk/>
            <pc:sldMk cId="3191430499" sldId="2147469706"/>
            <ac:grpSpMk id="10" creationId="{8C69F78A-337B-304C-D720-D996AC4858A1}"/>
          </ac:grpSpMkLst>
        </pc:grpChg>
        <pc:grpChg chg="add mod">
          <ac:chgData name="Anjali Jaisinghani" userId="cad40627-4d93-4324-b144-18a7e046d981" providerId="ADAL" clId="{33619D88-3F50-494B-83B9-988F8B17CC2F}" dt="2023-03-17T06:32:37.333" v="530" actId="571"/>
          <ac:grpSpMkLst>
            <pc:docMk/>
            <pc:sldMk cId="3191430499" sldId="2147469706"/>
            <ac:grpSpMk id="13" creationId="{7E3BD1F0-91CB-38FA-A0C4-B97FC1132093}"/>
          </ac:grpSpMkLst>
        </pc:grpChg>
        <pc:grpChg chg="add mod">
          <ac:chgData name="Anjali Jaisinghani" userId="cad40627-4d93-4324-b144-18a7e046d981" providerId="ADAL" clId="{33619D88-3F50-494B-83B9-988F8B17CC2F}" dt="2023-03-17T06:32:37.333" v="530" actId="571"/>
          <ac:grpSpMkLst>
            <pc:docMk/>
            <pc:sldMk cId="3191430499" sldId="2147469706"/>
            <ac:grpSpMk id="17" creationId="{E8177282-027B-E18B-FC7F-4E2DCF3421C6}"/>
          </ac:grpSpMkLst>
        </pc:grpChg>
        <pc:grpChg chg="add mod">
          <ac:chgData name="Anjali Jaisinghani" userId="cad40627-4d93-4324-b144-18a7e046d981" providerId="ADAL" clId="{33619D88-3F50-494B-83B9-988F8B17CC2F}" dt="2023-03-17T06:32:37.333" v="530" actId="571"/>
          <ac:grpSpMkLst>
            <pc:docMk/>
            <pc:sldMk cId="3191430499" sldId="2147469706"/>
            <ac:grpSpMk id="20" creationId="{C48BC377-6333-1731-5513-2C05D094FDA3}"/>
          </ac:grpSpMkLst>
        </pc:grpChg>
        <pc:grpChg chg="add mod">
          <ac:chgData name="Anjali Jaisinghani" userId="cad40627-4d93-4324-b144-18a7e046d981" providerId="ADAL" clId="{33619D88-3F50-494B-83B9-988F8B17CC2F}" dt="2023-03-17T06:32:37.333" v="530" actId="571"/>
          <ac:grpSpMkLst>
            <pc:docMk/>
            <pc:sldMk cId="3191430499" sldId="2147469706"/>
            <ac:grpSpMk id="24" creationId="{FC7FF567-AB30-1B2E-28C5-C709FDD1EE9D}"/>
          </ac:grpSpMkLst>
        </pc:grpChg>
        <pc:grpChg chg="add mod">
          <ac:chgData name="Anjali Jaisinghani" userId="cad40627-4d93-4324-b144-18a7e046d981" providerId="ADAL" clId="{33619D88-3F50-494B-83B9-988F8B17CC2F}" dt="2023-03-17T06:32:37.333" v="530" actId="571"/>
          <ac:grpSpMkLst>
            <pc:docMk/>
            <pc:sldMk cId="3191430499" sldId="2147469706"/>
            <ac:grpSpMk id="27" creationId="{08E85C9C-95F4-4160-982D-271E91BB2B14}"/>
          </ac:grpSpMkLst>
        </pc:grpChg>
        <pc:grpChg chg="mod">
          <ac:chgData name="Anjali Jaisinghani" userId="cad40627-4d93-4324-b144-18a7e046d981" providerId="ADAL" clId="{33619D88-3F50-494B-83B9-988F8B17CC2F}" dt="2023-03-17T06:32:37.333" v="530" actId="571"/>
          <ac:grpSpMkLst>
            <pc:docMk/>
            <pc:sldMk cId="3191430499" sldId="2147469706"/>
            <ac:grpSpMk id="29" creationId="{83C5E39F-CA7D-F650-7E3C-B527BC822D93}"/>
          </ac:grpSpMkLst>
        </pc:grpChg>
        <pc:grpChg chg="add mod">
          <ac:chgData name="Anjali Jaisinghani" userId="cad40627-4d93-4324-b144-18a7e046d981" providerId="ADAL" clId="{33619D88-3F50-494B-83B9-988F8B17CC2F}" dt="2023-03-17T06:32:37.333" v="530" actId="571"/>
          <ac:grpSpMkLst>
            <pc:docMk/>
            <pc:sldMk cId="3191430499" sldId="2147469706"/>
            <ac:grpSpMk id="32" creationId="{BCD1FBEE-F251-A665-3D8B-F08E5BBD84F5}"/>
          </ac:grpSpMkLst>
        </pc:grpChg>
        <pc:grpChg chg="mod">
          <ac:chgData name="Anjali Jaisinghani" userId="cad40627-4d93-4324-b144-18a7e046d981" providerId="ADAL" clId="{33619D88-3F50-494B-83B9-988F8B17CC2F}" dt="2023-03-17T06:32:37.333" v="530" actId="571"/>
          <ac:grpSpMkLst>
            <pc:docMk/>
            <pc:sldMk cId="3191430499" sldId="2147469706"/>
            <ac:grpSpMk id="34" creationId="{D4B363E2-9F29-7001-2F50-583AED5B0D9A}"/>
          </ac:grpSpMkLst>
        </pc:grpChg>
        <pc:grpChg chg="add mod">
          <ac:chgData name="Anjali Jaisinghani" userId="cad40627-4d93-4324-b144-18a7e046d981" providerId="ADAL" clId="{33619D88-3F50-494B-83B9-988F8B17CC2F}" dt="2023-03-17T06:32:37.333" v="530" actId="571"/>
          <ac:grpSpMkLst>
            <pc:docMk/>
            <pc:sldMk cId="3191430499" sldId="2147469706"/>
            <ac:grpSpMk id="37" creationId="{716D8859-CEF4-31CA-1D8C-69C33AB7F08F}"/>
          </ac:grpSpMkLst>
        </pc:grpChg>
        <pc:grpChg chg="mod">
          <ac:chgData name="Anjali Jaisinghani" userId="cad40627-4d93-4324-b144-18a7e046d981" providerId="ADAL" clId="{33619D88-3F50-494B-83B9-988F8B17CC2F}" dt="2023-03-17T06:32:37.333" v="530" actId="571"/>
          <ac:grpSpMkLst>
            <pc:docMk/>
            <pc:sldMk cId="3191430499" sldId="2147469706"/>
            <ac:grpSpMk id="39" creationId="{F4343DAF-D640-BE00-0187-C908308C2F8A}"/>
          </ac:grpSpMkLst>
        </pc:grpChg>
        <pc:grpChg chg="add mod">
          <ac:chgData name="Anjali Jaisinghani" userId="cad40627-4d93-4324-b144-18a7e046d981" providerId="ADAL" clId="{33619D88-3F50-494B-83B9-988F8B17CC2F}" dt="2023-03-17T06:32:37.333" v="530" actId="571"/>
          <ac:grpSpMkLst>
            <pc:docMk/>
            <pc:sldMk cId="3191430499" sldId="2147469706"/>
            <ac:grpSpMk id="43" creationId="{7396B476-2CD3-FDF9-53EC-F8A9EED2E68B}"/>
          </ac:grpSpMkLst>
        </pc:grpChg>
        <pc:grpChg chg="mod">
          <ac:chgData name="Anjali Jaisinghani" userId="cad40627-4d93-4324-b144-18a7e046d981" providerId="ADAL" clId="{33619D88-3F50-494B-83B9-988F8B17CC2F}" dt="2023-03-17T06:32:37.333" v="530" actId="571"/>
          <ac:grpSpMkLst>
            <pc:docMk/>
            <pc:sldMk cId="3191430499" sldId="2147469706"/>
            <ac:grpSpMk id="45" creationId="{160EB294-73E4-75C2-575A-70946B1A9C89}"/>
          </ac:grpSpMkLst>
        </pc:grpChg>
        <pc:grpChg chg="add mod">
          <ac:chgData name="Anjali Jaisinghani" userId="cad40627-4d93-4324-b144-18a7e046d981" providerId="ADAL" clId="{33619D88-3F50-494B-83B9-988F8B17CC2F}" dt="2023-03-17T06:32:37.333" v="530" actId="571"/>
          <ac:grpSpMkLst>
            <pc:docMk/>
            <pc:sldMk cId="3191430499" sldId="2147469706"/>
            <ac:grpSpMk id="48" creationId="{7BC7DA2E-ABCC-16EE-E9B8-EF73DD91B434}"/>
          </ac:grpSpMkLst>
        </pc:grpChg>
        <pc:grpChg chg="mod">
          <ac:chgData name="Anjali Jaisinghani" userId="cad40627-4d93-4324-b144-18a7e046d981" providerId="ADAL" clId="{33619D88-3F50-494B-83B9-988F8B17CC2F}" dt="2023-03-17T06:32:37.333" v="530" actId="571"/>
          <ac:grpSpMkLst>
            <pc:docMk/>
            <pc:sldMk cId="3191430499" sldId="2147469706"/>
            <ac:grpSpMk id="50" creationId="{7C164C5A-8163-91E5-2E39-77880AB70381}"/>
          </ac:grpSpMkLst>
        </pc:grpChg>
        <pc:grpChg chg="add del mod">
          <ac:chgData name="Anjali Jaisinghani" userId="cad40627-4d93-4324-b144-18a7e046d981" providerId="ADAL" clId="{33619D88-3F50-494B-83B9-988F8B17CC2F}" dt="2023-03-17T06:44:37.267" v="679" actId="165"/>
          <ac:grpSpMkLst>
            <pc:docMk/>
            <pc:sldMk cId="3191430499" sldId="2147469706"/>
            <ac:grpSpMk id="68" creationId="{787A98A7-76CC-4905-419A-754483422E83}"/>
          </ac:grpSpMkLst>
        </pc:grpChg>
        <pc:grpChg chg="add del mod">
          <ac:chgData name="Anjali Jaisinghani" userId="cad40627-4d93-4324-b144-18a7e046d981" providerId="ADAL" clId="{33619D88-3F50-494B-83B9-988F8B17CC2F}" dt="2023-03-17T06:49:43.285" v="742" actId="478"/>
          <ac:grpSpMkLst>
            <pc:docMk/>
            <pc:sldMk cId="3191430499" sldId="2147469706"/>
            <ac:grpSpMk id="71" creationId="{BE298670-E443-BF3A-0583-8D2CFE900DCB}"/>
          </ac:grpSpMkLst>
        </pc:grpChg>
        <pc:grpChg chg="add del mod">
          <ac:chgData name="Anjali Jaisinghani" userId="cad40627-4d93-4324-b144-18a7e046d981" providerId="ADAL" clId="{33619D88-3F50-494B-83B9-988F8B17CC2F}" dt="2023-03-17T06:49:50.337" v="744" actId="478"/>
          <ac:grpSpMkLst>
            <pc:docMk/>
            <pc:sldMk cId="3191430499" sldId="2147469706"/>
            <ac:grpSpMk id="74" creationId="{36C2C29B-4FE4-E76E-3639-493B368DC447}"/>
          </ac:grpSpMkLst>
        </pc:grpChg>
        <pc:grpChg chg="add del mod">
          <ac:chgData name="Anjali Jaisinghani" userId="cad40627-4d93-4324-b144-18a7e046d981" providerId="ADAL" clId="{33619D88-3F50-494B-83B9-988F8B17CC2F}" dt="2023-03-17T06:49:41.455" v="741" actId="478"/>
          <ac:grpSpMkLst>
            <pc:docMk/>
            <pc:sldMk cId="3191430499" sldId="2147469706"/>
            <ac:grpSpMk id="80" creationId="{7B82E029-8992-3668-35A8-A6EBA362AE3D}"/>
          </ac:grpSpMkLst>
        </pc:grpChg>
        <pc:grpChg chg="add del mod">
          <ac:chgData name="Anjali Jaisinghani" userId="cad40627-4d93-4324-b144-18a7e046d981" providerId="ADAL" clId="{33619D88-3F50-494B-83B9-988F8B17CC2F}" dt="2023-03-17T06:49:39.098" v="740" actId="478"/>
          <ac:grpSpMkLst>
            <pc:docMk/>
            <pc:sldMk cId="3191430499" sldId="2147469706"/>
            <ac:grpSpMk id="85" creationId="{990ECC6F-04BD-CC06-1639-FAC03FE5F447}"/>
          </ac:grpSpMkLst>
        </pc:grpChg>
        <pc:grpChg chg="add del mod">
          <ac:chgData name="Anjali Jaisinghani" userId="cad40627-4d93-4324-b144-18a7e046d981" providerId="ADAL" clId="{33619D88-3F50-494B-83B9-988F8B17CC2F}" dt="2023-03-17T06:47:39.863" v="713" actId="478"/>
          <ac:grpSpMkLst>
            <pc:docMk/>
            <pc:sldMk cId="3191430499" sldId="2147469706"/>
            <ac:grpSpMk id="88" creationId="{7273053D-0E5D-8D9F-8A8B-986EE45CB3C0}"/>
          </ac:grpSpMkLst>
        </pc:grpChg>
        <pc:grpChg chg="add del mod">
          <ac:chgData name="Anjali Jaisinghani" userId="cad40627-4d93-4324-b144-18a7e046d981" providerId="ADAL" clId="{33619D88-3F50-494B-83B9-988F8B17CC2F}" dt="2023-03-17T06:47:42.830" v="715" actId="478"/>
          <ac:grpSpMkLst>
            <pc:docMk/>
            <pc:sldMk cId="3191430499" sldId="2147469706"/>
            <ac:grpSpMk id="91" creationId="{8728715A-DDF4-9CFE-481F-A7701A3AFBD1}"/>
          </ac:grpSpMkLst>
        </pc:grpChg>
        <pc:grpChg chg="add mod ord">
          <ac:chgData name="Anjali Jaisinghani" userId="cad40627-4d93-4324-b144-18a7e046d981" providerId="ADAL" clId="{33619D88-3F50-494B-83B9-988F8B17CC2F}" dt="2023-03-20T08:01:54.906" v="7101" actId="1076"/>
          <ac:grpSpMkLst>
            <pc:docMk/>
            <pc:sldMk cId="3191430499" sldId="2147469706"/>
            <ac:grpSpMk id="91" creationId="{D53CF476-BB01-7BF9-C832-DD05DFE7BCEA}"/>
          </ac:grpSpMkLst>
        </pc:grpChg>
        <pc:grpChg chg="mod">
          <ac:chgData name="Anjali Jaisinghani" userId="cad40627-4d93-4324-b144-18a7e046d981" providerId="ADAL" clId="{33619D88-3F50-494B-83B9-988F8B17CC2F}" dt="2023-03-20T04:55:38.654" v="4743"/>
          <ac:grpSpMkLst>
            <pc:docMk/>
            <pc:sldMk cId="3191430499" sldId="2147469706"/>
            <ac:grpSpMk id="93" creationId="{9303A1EB-8858-D8ED-12FB-E768C67786F3}"/>
          </ac:grpSpMkLst>
        </pc:grpChg>
        <pc:grpChg chg="add mod">
          <ac:chgData name="Anjali Jaisinghani" userId="cad40627-4d93-4324-b144-18a7e046d981" providerId="ADAL" clId="{33619D88-3F50-494B-83B9-988F8B17CC2F}" dt="2023-03-20T08:01:54.906" v="7101" actId="1076"/>
          <ac:grpSpMkLst>
            <pc:docMk/>
            <pc:sldMk cId="3191430499" sldId="2147469706"/>
            <ac:grpSpMk id="102" creationId="{10A8C68D-DE15-5116-CE3A-252C0CD02FF5}"/>
          </ac:grpSpMkLst>
        </pc:grpChg>
        <pc:grpChg chg="mod">
          <ac:chgData name="Anjali Jaisinghani" userId="cad40627-4d93-4324-b144-18a7e046d981" providerId="ADAL" clId="{33619D88-3F50-494B-83B9-988F8B17CC2F}" dt="2023-03-20T05:01:38.167" v="4965"/>
          <ac:grpSpMkLst>
            <pc:docMk/>
            <pc:sldMk cId="3191430499" sldId="2147469706"/>
            <ac:grpSpMk id="104" creationId="{817A74B9-A33B-158E-19EB-25153F4C0221}"/>
          </ac:grpSpMkLst>
        </pc:grpChg>
        <pc:grpChg chg="add del mod">
          <ac:chgData name="Anjali Jaisinghani" userId="cad40627-4d93-4324-b144-18a7e046d981" providerId="ADAL" clId="{33619D88-3F50-494B-83B9-988F8B17CC2F}" dt="2023-03-17T06:51:55.178" v="756" actId="165"/>
          <ac:grpSpMkLst>
            <pc:docMk/>
            <pc:sldMk cId="3191430499" sldId="2147469706"/>
            <ac:grpSpMk id="112" creationId="{1DCAFBEF-E698-D542-82F4-B0F133A26142}"/>
          </ac:grpSpMkLst>
        </pc:grpChg>
        <pc:grpChg chg="add del mod">
          <ac:chgData name="Anjali Jaisinghani" userId="cad40627-4d93-4324-b144-18a7e046d981" providerId="ADAL" clId="{33619D88-3F50-494B-83B9-988F8B17CC2F}" dt="2023-03-17T06:53:40.780" v="784" actId="478"/>
          <ac:grpSpMkLst>
            <pc:docMk/>
            <pc:sldMk cId="3191430499" sldId="2147469706"/>
            <ac:grpSpMk id="113" creationId="{FF73EE27-8351-8EF0-89E2-096B338B305D}"/>
          </ac:grpSpMkLst>
        </pc:grpChg>
        <pc:grpChg chg="add mod">
          <ac:chgData name="Anjali Jaisinghani" userId="cad40627-4d93-4324-b144-18a7e046d981" providerId="ADAL" clId="{33619D88-3F50-494B-83B9-988F8B17CC2F}" dt="2023-03-20T05:09:07.259" v="5178" actId="571"/>
          <ac:grpSpMkLst>
            <pc:docMk/>
            <pc:sldMk cId="3191430499" sldId="2147469706"/>
            <ac:grpSpMk id="123" creationId="{4C46254C-BAAA-EE89-F3B4-82103F83C454}"/>
          </ac:grpSpMkLst>
        </pc:grpChg>
        <pc:grpChg chg="mod">
          <ac:chgData name="Anjali Jaisinghani" userId="cad40627-4d93-4324-b144-18a7e046d981" providerId="ADAL" clId="{33619D88-3F50-494B-83B9-988F8B17CC2F}" dt="2023-03-20T05:09:07.259" v="5178" actId="571"/>
          <ac:grpSpMkLst>
            <pc:docMk/>
            <pc:sldMk cId="3191430499" sldId="2147469706"/>
            <ac:grpSpMk id="125" creationId="{3650941D-A644-4946-38D9-1CE5C361118E}"/>
          </ac:grpSpMkLst>
        </pc:grpChg>
        <pc:grpChg chg="add mod">
          <ac:chgData name="Anjali Jaisinghani" userId="cad40627-4d93-4324-b144-18a7e046d981" providerId="ADAL" clId="{33619D88-3F50-494B-83B9-988F8B17CC2F}" dt="2023-03-17T07:15:57.967" v="820" actId="164"/>
          <ac:grpSpMkLst>
            <pc:docMk/>
            <pc:sldMk cId="3191430499" sldId="2147469706"/>
            <ac:grpSpMk id="128" creationId="{B72C8155-065A-3C5E-688D-F870852BBC3F}"/>
          </ac:grpSpMkLst>
        </pc:grpChg>
        <pc:grpChg chg="add mod">
          <ac:chgData name="Anjali Jaisinghani" userId="cad40627-4d93-4324-b144-18a7e046d981" providerId="ADAL" clId="{33619D88-3F50-494B-83B9-988F8B17CC2F}" dt="2023-03-20T08:08:18.654" v="7255" actId="1076"/>
          <ac:grpSpMkLst>
            <pc:docMk/>
            <pc:sldMk cId="3191430499" sldId="2147469706"/>
            <ac:grpSpMk id="131" creationId="{7F04CBE7-313B-73AB-8471-3DA29B565B6B}"/>
          </ac:grpSpMkLst>
        </pc:grpChg>
        <pc:grpChg chg="add mod">
          <ac:chgData name="Anjali Jaisinghani" userId="cad40627-4d93-4324-b144-18a7e046d981" providerId="ADAL" clId="{33619D88-3F50-494B-83B9-988F8B17CC2F}" dt="2023-03-20T08:01:54.906" v="7101" actId="1076"/>
          <ac:grpSpMkLst>
            <pc:docMk/>
            <pc:sldMk cId="3191430499" sldId="2147469706"/>
            <ac:grpSpMk id="132" creationId="{815BA35B-DDC3-0243-71C4-7473FEEAE0D5}"/>
          </ac:grpSpMkLst>
        </pc:grpChg>
        <pc:grpChg chg="add mod">
          <ac:chgData name="Anjali Jaisinghani" userId="cad40627-4d93-4324-b144-18a7e046d981" providerId="ADAL" clId="{33619D88-3F50-494B-83B9-988F8B17CC2F}" dt="2023-03-17T07:18:11.711" v="841" actId="164"/>
          <ac:grpSpMkLst>
            <pc:docMk/>
            <pc:sldMk cId="3191430499" sldId="2147469706"/>
            <ac:grpSpMk id="133" creationId="{2E2ECF8A-495C-889D-B04E-B1163BE36092}"/>
          </ac:grpSpMkLst>
        </pc:grpChg>
        <pc:grpChg chg="add del mod">
          <ac:chgData name="Anjali Jaisinghani" userId="cad40627-4d93-4324-b144-18a7e046d981" providerId="ADAL" clId="{33619D88-3F50-494B-83B9-988F8B17CC2F}" dt="2023-03-20T04:45:45.460" v="4629" actId="478"/>
          <ac:grpSpMkLst>
            <pc:docMk/>
            <pc:sldMk cId="3191430499" sldId="2147469706"/>
            <ac:grpSpMk id="136" creationId="{BD93DA69-3704-FF8C-3E3F-38C6B064D59E}"/>
          </ac:grpSpMkLst>
        </pc:grpChg>
        <pc:grpChg chg="mod">
          <ac:chgData name="Anjali Jaisinghani" userId="cad40627-4d93-4324-b144-18a7e046d981" providerId="ADAL" clId="{33619D88-3F50-494B-83B9-988F8B17CC2F}" dt="2023-03-17T07:16:25.082" v="827"/>
          <ac:grpSpMkLst>
            <pc:docMk/>
            <pc:sldMk cId="3191430499" sldId="2147469706"/>
            <ac:grpSpMk id="138" creationId="{BF07AF30-956E-3253-E18D-ACD7438DFA54}"/>
          </ac:grpSpMkLst>
        </pc:grpChg>
        <pc:grpChg chg="add del mod">
          <ac:chgData name="Anjali Jaisinghani" userId="cad40627-4d93-4324-b144-18a7e046d981" providerId="ADAL" clId="{33619D88-3F50-494B-83B9-988F8B17CC2F}" dt="2023-03-20T04:47:56.584" v="4654" actId="478"/>
          <ac:grpSpMkLst>
            <pc:docMk/>
            <pc:sldMk cId="3191430499" sldId="2147469706"/>
            <ac:grpSpMk id="141" creationId="{297132BE-52DE-F85B-DC94-4848B7ECEB04}"/>
          </ac:grpSpMkLst>
        </pc:grpChg>
        <pc:grpChg chg="add del mod">
          <ac:chgData name="Anjali Jaisinghani" userId="cad40627-4d93-4324-b144-18a7e046d981" providerId="ADAL" clId="{33619D88-3F50-494B-83B9-988F8B17CC2F}" dt="2023-03-20T04:48:04.238" v="4656" actId="478"/>
          <ac:grpSpMkLst>
            <pc:docMk/>
            <pc:sldMk cId="3191430499" sldId="2147469706"/>
            <ac:grpSpMk id="145" creationId="{711B07AD-B49A-E12E-90A9-2EBDE68AB3EA}"/>
          </ac:grpSpMkLst>
        </pc:grpChg>
        <pc:grpChg chg="add mod">
          <ac:chgData name="Anjali Jaisinghani" userId="cad40627-4d93-4324-b144-18a7e046d981" providerId="ADAL" clId="{33619D88-3F50-494B-83B9-988F8B17CC2F}" dt="2023-03-20T08:01:54.906" v="7101" actId="1076"/>
          <ac:grpSpMkLst>
            <pc:docMk/>
            <pc:sldMk cId="3191430499" sldId="2147469706"/>
            <ac:grpSpMk id="146" creationId="{4325ACBB-780D-2BF8-C92E-2B052BA7DB1A}"/>
          </ac:grpSpMkLst>
        </pc:grpChg>
        <pc:grpChg chg="add mod">
          <ac:chgData name="Anjali Jaisinghani" userId="cad40627-4d93-4324-b144-18a7e046d981" providerId="ADAL" clId="{33619D88-3F50-494B-83B9-988F8B17CC2F}" dt="2023-03-20T08:01:54.906" v="7101" actId="1076"/>
          <ac:grpSpMkLst>
            <pc:docMk/>
            <pc:sldMk cId="3191430499" sldId="2147469706"/>
            <ac:grpSpMk id="150" creationId="{EDBC9902-39B8-5B94-F886-98AF5B2675EC}"/>
          </ac:grpSpMkLst>
        </pc:grpChg>
        <pc:grpChg chg="add mod">
          <ac:chgData name="Anjali Jaisinghani" userId="cad40627-4d93-4324-b144-18a7e046d981" providerId="ADAL" clId="{33619D88-3F50-494B-83B9-988F8B17CC2F}" dt="2023-03-17T07:20:09.754" v="865" actId="164"/>
          <ac:grpSpMkLst>
            <pc:docMk/>
            <pc:sldMk cId="3191430499" sldId="2147469706"/>
            <ac:grpSpMk id="155" creationId="{64E9AA45-98E0-AC36-F888-56D17698F046}"/>
          </ac:grpSpMkLst>
        </pc:grpChg>
        <pc:grpChg chg="add del mod">
          <ac:chgData name="Anjali Jaisinghani" userId="cad40627-4d93-4324-b144-18a7e046d981" providerId="ADAL" clId="{33619D88-3F50-494B-83B9-988F8B17CC2F}" dt="2023-03-17T07:20:36.209" v="871" actId="165"/>
          <ac:grpSpMkLst>
            <pc:docMk/>
            <pc:sldMk cId="3191430499" sldId="2147469706"/>
            <ac:grpSpMk id="156" creationId="{37086F95-49D4-A0B5-1F09-6AA6B814A57F}"/>
          </ac:grpSpMkLst>
        </pc:grpChg>
        <pc:grpChg chg="add mod">
          <ac:chgData name="Anjali Jaisinghani" userId="cad40627-4d93-4324-b144-18a7e046d981" providerId="ADAL" clId="{33619D88-3F50-494B-83B9-988F8B17CC2F}" dt="2023-03-20T08:06:11.474" v="7242" actId="1076"/>
          <ac:grpSpMkLst>
            <pc:docMk/>
            <pc:sldMk cId="3191430499" sldId="2147469706"/>
            <ac:grpSpMk id="157" creationId="{10DED360-8B7C-E957-828D-504AAA20FA5D}"/>
          </ac:grpSpMkLst>
        </pc:grpChg>
        <pc:grpChg chg="add mod">
          <ac:chgData name="Anjali Jaisinghani" userId="cad40627-4d93-4324-b144-18a7e046d981" providerId="ADAL" clId="{33619D88-3F50-494B-83B9-988F8B17CC2F}" dt="2023-03-17T07:21:40.853" v="886" actId="164"/>
          <ac:grpSpMkLst>
            <pc:docMk/>
            <pc:sldMk cId="3191430499" sldId="2147469706"/>
            <ac:grpSpMk id="158" creationId="{5836CF1F-B05A-7E53-845E-1CA84AD5AAE2}"/>
          </ac:grpSpMkLst>
        </pc:grpChg>
        <pc:grpChg chg="add mod">
          <ac:chgData name="Anjali Jaisinghani" userId="cad40627-4d93-4324-b144-18a7e046d981" providerId="ADAL" clId="{33619D88-3F50-494B-83B9-988F8B17CC2F}" dt="2023-03-20T08:01:54.906" v="7101" actId="1076"/>
          <ac:grpSpMkLst>
            <pc:docMk/>
            <pc:sldMk cId="3191430499" sldId="2147469706"/>
            <ac:grpSpMk id="162" creationId="{B0E1F454-8937-BAEC-B1C6-556E41B848BF}"/>
          </ac:grpSpMkLst>
        </pc:grpChg>
        <pc:grpChg chg="add mod">
          <ac:chgData name="Anjali Jaisinghani" userId="cad40627-4d93-4324-b144-18a7e046d981" providerId="ADAL" clId="{33619D88-3F50-494B-83B9-988F8B17CC2F}" dt="2023-03-17T07:22:40.741" v="896" actId="164"/>
          <ac:grpSpMkLst>
            <pc:docMk/>
            <pc:sldMk cId="3191430499" sldId="2147469706"/>
            <ac:grpSpMk id="164" creationId="{DF5830C0-462A-0506-0C5F-2AC3166EFE54}"/>
          </ac:grpSpMkLst>
        </pc:grpChg>
        <pc:grpChg chg="add mod">
          <ac:chgData name="Anjali Jaisinghani" userId="cad40627-4d93-4324-b144-18a7e046d981" providerId="ADAL" clId="{33619D88-3F50-494B-83B9-988F8B17CC2F}" dt="2023-03-20T08:01:54.906" v="7101" actId="1076"/>
          <ac:grpSpMkLst>
            <pc:docMk/>
            <pc:sldMk cId="3191430499" sldId="2147469706"/>
            <ac:grpSpMk id="167" creationId="{CFCA0747-D94E-C39D-BA92-E2F4DB18F8B6}"/>
          </ac:grpSpMkLst>
        </pc:grpChg>
        <pc:grpChg chg="add mod">
          <ac:chgData name="Anjali Jaisinghani" userId="cad40627-4d93-4324-b144-18a7e046d981" providerId="ADAL" clId="{33619D88-3F50-494B-83B9-988F8B17CC2F}" dt="2023-03-20T08:01:54.906" v="7101" actId="1076"/>
          <ac:grpSpMkLst>
            <pc:docMk/>
            <pc:sldMk cId="3191430499" sldId="2147469706"/>
            <ac:grpSpMk id="168" creationId="{6A781BFE-62A4-F8BB-A241-D57797873851}"/>
          </ac:grpSpMkLst>
        </pc:grpChg>
        <pc:grpChg chg="add mod">
          <ac:chgData name="Anjali Jaisinghani" userId="cad40627-4d93-4324-b144-18a7e046d981" providerId="ADAL" clId="{33619D88-3F50-494B-83B9-988F8B17CC2F}" dt="2023-03-17T07:24:59.282" v="917" actId="164"/>
          <ac:grpSpMkLst>
            <pc:docMk/>
            <pc:sldMk cId="3191430499" sldId="2147469706"/>
            <ac:grpSpMk id="171" creationId="{8D4AFDAB-D14C-C788-CBFB-D444E01A4C8A}"/>
          </ac:grpSpMkLst>
        </pc:grpChg>
        <pc:grpChg chg="add mod">
          <ac:chgData name="Anjali Jaisinghani" userId="cad40627-4d93-4324-b144-18a7e046d981" providerId="ADAL" clId="{33619D88-3F50-494B-83B9-988F8B17CC2F}" dt="2023-03-20T08:01:54.906" v="7101" actId="1076"/>
          <ac:grpSpMkLst>
            <pc:docMk/>
            <pc:sldMk cId="3191430499" sldId="2147469706"/>
            <ac:grpSpMk id="174" creationId="{13F458F2-9599-386C-91C3-5A36E0815BCA}"/>
          </ac:grpSpMkLst>
        </pc:grpChg>
        <pc:grpChg chg="add mod topLvl">
          <ac:chgData name="Anjali Jaisinghani" userId="cad40627-4d93-4324-b144-18a7e046d981" providerId="ADAL" clId="{33619D88-3F50-494B-83B9-988F8B17CC2F}" dt="2023-03-20T06:13:14.894" v="6430" actId="164"/>
          <ac:grpSpMkLst>
            <pc:docMk/>
            <pc:sldMk cId="3191430499" sldId="2147469706"/>
            <ac:grpSpMk id="175" creationId="{08A68EA3-8E45-EAD2-71C9-8A2066C2E720}"/>
          </ac:grpSpMkLst>
        </pc:grpChg>
        <pc:grpChg chg="add mod">
          <ac:chgData name="Anjali Jaisinghani" userId="cad40627-4d93-4324-b144-18a7e046d981" providerId="ADAL" clId="{33619D88-3F50-494B-83B9-988F8B17CC2F}" dt="2023-03-17T07:25:46.186" v="928" actId="164"/>
          <ac:grpSpMkLst>
            <pc:docMk/>
            <pc:sldMk cId="3191430499" sldId="2147469706"/>
            <ac:grpSpMk id="179" creationId="{1C7FDB6D-9897-C1AB-D5A9-288EB4EFBC41}"/>
          </ac:grpSpMkLst>
        </pc:grpChg>
        <pc:grpChg chg="add del mod">
          <ac:chgData name="Anjali Jaisinghani" userId="cad40627-4d93-4324-b144-18a7e046d981" providerId="ADAL" clId="{33619D88-3F50-494B-83B9-988F8B17CC2F}" dt="2023-03-20T06:12:53.815" v="6427" actId="165"/>
          <ac:grpSpMkLst>
            <pc:docMk/>
            <pc:sldMk cId="3191430499" sldId="2147469706"/>
            <ac:grpSpMk id="183" creationId="{8E87543F-E8DD-EF70-D547-48FDBE18483F}"/>
          </ac:grpSpMkLst>
        </pc:grpChg>
        <pc:grpChg chg="add mod">
          <ac:chgData name="Anjali Jaisinghani" userId="cad40627-4d93-4324-b144-18a7e046d981" providerId="ADAL" clId="{33619D88-3F50-494B-83B9-988F8B17CC2F}" dt="2023-03-17T07:27:17.236" v="942" actId="164"/>
          <ac:grpSpMkLst>
            <pc:docMk/>
            <pc:sldMk cId="3191430499" sldId="2147469706"/>
            <ac:grpSpMk id="184" creationId="{06C18DF7-7FDD-C033-7C2F-BDC9619F3C94}"/>
          </ac:grpSpMkLst>
        </pc:grpChg>
        <pc:grpChg chg="add mod ord">
          <ac:chgData name="Anjali Jaisinghani" userId="cad40627-4d93-4324-b144-18a7e046d981" providerId="ADAL" clId="{33619D88-3F50-494B-83B9-988F8B17CC2F}" dt="2023-03-20T09:55:00.439" v="8234" actId="1076"/>
          <ac:grpSpMkLst>
            <pc:docMk/>
            <pc:sldMk cId="3191430499" sldId="2147469706"/>
            <ac:grpSpMk id="187" creationId="{07516443-9F27-2136-A5DA-807FC76F7DA3}"/>
          </ac:grpSpMkLst>
        </pc:grpChg>
        <pc:grpChg chg="add mod">
          <ac:chgData name="Anjali Jaisinghani" userId="cad40627-4d93-4324-b144-18a7e046d981" providerId="ADAL" clId="{33619D88-3F50-494B-83B9-988F8B17CC2F}" dt="2023-03-17T07:29:19.587" v="967" actId="164"/>
          <ac:grpSpMkLst>
            <pc:docMk/>
            <pc:sldMk cId="3191430499" sldId="2147469706"/>
            <ac:grpSpMk id="201" creationId="{04FB1B47-6E4E-62F1-29F8-3552785FBB19}"/>
          </ac:grpSpMkLst>
        </pc:grpChg>
        <pc:grpChg chg="add mod">
          <ac:chgData name="Anjali Jaisinghani" userId="cad40627-4d93-4324-b144-18a7e046d981" providerId="ADAL" clId="{33619D88-3F50-494B-83B9-988F8B17CC2F}" dt="2023-03-20T08:01:54.906" v="7101" actId="1076"/>
          <ac:grpSpMkLst>
            <pc:docMk/>
            <pc:sldMk cId="3191430499" sldId="2147469706"/>
            <ac:grpSpMk id="204" creationId="{0851282B-8C36-6052-AB44-EA1791823E66}"/>
          </ac:grpSpMkLst>
        </pc:grpChg>
        <pc:grpChg chg="add mod">
          <ac:chgData name="Anjali Jaisinghani" userId="cad40627-4d93-4324-b144-18a7e046d981" providerId="ADAL" clId="{33619D88-3F50-494B-83B9-988F8B17CC2F}" dt="2023-03-17T07:28:58.485" v="965" actId="164"/>
          <ac:grpSpMkLst>
            <pc:docMk/>
            <pc:sldMk cId="3191430499" sldId="2147469706"/>
            <ac:grpSpMk id="207" creationId="{408095AB-4D83-25B4-B365-308F9949F786}"/>
          </ac:grpSpMkLst>
        </pc:grpChg>
        <pc:grpChg chg="add mod">
          <ac:chgData name="Anjali Jaisinghani" userId="cad40627-4d93-4324-b144-18a7e046d981" providerId="ADAL" clId="{33619D88-3F50-494B-83B9-988F8B17CC2F}" dt="2023-03-20T08:01:54.906" v="7101" actId="1076"/>
          <ac:grpSpMkLst>
            <pc:docMk/>
            <pc:sldMk cId="3191430499" sldId="2147469706"/>
            <ac:grpSpMk id="208" creationId="{D1977F2E-0B4C-C169-A0B9-158CE72D0203}"/>
          </ac:grpSpMkLst>
        </pc:grpChg>
        <pc:grpChg chg="del mod">
          <ac:chgData name="Anjali Jaisinghani" userId="cad40627-4d93-4324-b144-18a7e046d981" providerId="ADAL" clId="{33619D88-3F50-494B-83B9-988F8B17CC2F}" dt="2023-03-17T06:39:56.104" v="634" actId="478"/>
          <ac:grpSpMkLst>
            <pc:docMk/>
            <pc:sldMk cId="3191430499" sldId="2147469706"/>
            <ac:grpSpMk id="297" creationId="{435B39FE-7F45-888D-9483-771D61B27D23}"/>
          </ac:grpSpMkLst>
        </pc:grpChg>
        <pc:grpChg chg="del mod">
          <ac:chgData name="Anjali Jaisinghani" userId="cad40627-4d93-4324-b144-18a7e046d981" providerId="ADAL" clId="{33619D88-3F50-494B-83B9-988F8B17CC2F}" dt="2023-03-17T06:40:59.129" v="643" actId="165"/>
          <ac:grpSpMkLst>
            <pc:docMk/>
            <pc:sldMk cId="3191430499" sldId="2147469706"/>
            <ac:grpSpMk id="304" creationId="{8CF79AB9-9ADA-11C0-72CE-492F1348956A}"/>
          </ac:grpSpMkLst>
        </pc:grpChg>
        <pc:grpChg chg="del mod">
          <ac:chgData name="Anjali Jaisinghani" userId="cad40627-4d93-4324-b144-18a7e046d981" providerId="ADAL" clId="{33619D88-3F50-494B-83B9-988F8B17CC2F}" dt="2023-03-17T06:48:16.940" v="723" actId="165"/>
          <ac:grpSpMkLst>
            <pc:docMk/>
            <pc:sldMk cId="3191430499" sldId="2147469706"/>
            <ac:grpSpMk id="309" creationId="{C5CBC41C-9BB1-CF3C-C502-844C64A5E183}"/>
          </ac:grpSpMkLst>
        </pc:grpChg>
        <pc:grpChg chg="add del mod">
          <ac:chgData name="Anjali Jaisinghani" userId="cad40627-4d93-4324-b144-18a7e046d981" providerId="ADAL" clId="{33619D88-3F50-494B-83B9-988F8B17CC2F}" dt="2023-03-17T06:41:29.714" v="648" actId="165"/>
          <ac:grpSpMkLst>
            <pc:docMk/>
            <pc:sldMk cId="3191430499" sldId="2147469706"/>
            <ac:grpSpMk id="311" creationId="{61DA4B7F-72C9-D4F2-3D6A-0386FFFE353E}"/>
          </ac:grpSpMkLst>
        </pc:grpChg>
        <pc:grpChg chg="add del mod">
          <ac:chgData name="Anjali Jaisinghani" userId="cad40627-4d93-4324-b144-18a7e046d981" providerId="ADAL" clId="{33619D88-3F50-494B-83B9-988F8B17CC2F}" dt="2023-03-17T06:45:48.249" v="693" actId="478"/>
          <ac:grpSpMkLst>
            <pc:docMk/>
            <pc:sldMk cId="3191430499" sldId="2147469706"/>
            <ac:grpSpMk id="450" creationId="{F7A16966-0B73-D39F-3D24-889CA222034D}"/>
          </ac:grpSpMkLst>
        </pc:grpChg>
        <pc:grpChg chg="add del mod">
          <ac:chgData name="Anjali Jaisinghani" userId="cad40627-4d93-4324-b144-18a7e046d981" providerId="ADAL" clId="{33619D88-3F50-494B-83B9-988F8B17CC2F}" dt="2023-03-17T06:47:14.282" v="708" actId="478"/>
          <ac:grpSpMkLst>
            <pc:docMk/>
            <pc:sldMk cId="3191430499" sldId="2147469706"/>
            <ac:grpSpMk id="460" creationId="{88AA5C1E-5336-3413-CEDD-63442EC78D5F}"/>
          </ac:grpSpMkLst>
        </pc:grpChg>
        <pc:grpChg chg="add del mod">
          <ac:chgData name="Anjali Jaisinghani" userId="cad40627-4d93-4324-b144-18a7e046d981" providerId="ADAL" clId="{33619D88-3F50-494B-83B9-988F8B17CC2F}" dt="2023-03-17T06:47:11.471" v="707" actId="478"/>
          <ac:grpSpMkLst>
            <pc:docMk/>
            <pc:sldMk cId="3191430499" sldId="2147469706"/>
            <ac:grpSpMk id="463" creationId="{8FBC4075-0BD3-BBB2-24E8-A6AF34B76673}"/>
          </ac:grpSpMkLst>
        </pc:grpChg>
        <pc:grpChg chg="add del mod">
          <ac:chgData name="Anjali Jaisinghani" userId="cad40627-4d93-4324-b144-18a7e046d981" providerId="ADAL" clId="{33619D88-3F50-494B-83B9-988F8B17CC2F}" dt="2023-03-17T06:47:09.922" v="706" actId="478"/>
          <ac:grpSpMkLst>
            <pc:docMk/>
            <pc:sldMk cId="3191430499" sldId="2147469706"/>
            <ac:grpSpMk id="466" creationId="{3711D278-C8AC-2059-B929-202A9F4F5BDB}"/>
          </ac:grpSpMkLst>
        </pc:grpChg>
        <pc:grpChg chg="add del mod">
          <ac:chgData name="Anjali Jaisinghani" userId="cad40627-4d93-4324-b144-18a7e046d981" providerId="ADAL" clId="{33619D88-3F50-494B-83B9-988F8B17CC2F}" dt="2023-03-17T06:46:59.063" v="703" actId="478"/>
          <ac:grpSpMkLst>
            <pc:docMk/>
            <pc:sldMk cId="3191430499" sldId="2147469706"/>
            <ac:grpSpMk id="469" creationId="{DA3847A8-AA05-7CB3-5608-CABD62283D57}"/>
          </ac:grpSpMkLst>
        </pc:grpChg>
        <pc:grpChg chg="add del mod">
          <ac:chgData name="Anjali Jaisinghani" userId="cad40627-4d93-4324-b144-18a7e046d981" providerId="ADAL" clId="{33619D88-3F50-494B-83B9-988F8B17CC2F}" dt="2023-03-17T06:46:59.063" v="703" actId="478"/>
          <ac:grpSpMkLst>
            <pc:docMk/>
            <pc:sldMk cId="3191430499" sldId="2147469706"/>
            <ac:grpSpMk id="472" creationId="{4FB13FEF-B223-B157-0864-6C06BAB7BCEA}"/>
          </ac:grpSpMkLst>
        </pc:grpChg>
        <pc:grpChg chg="add del mod">
          <ac:chgData name="Anjali Jaisinghani" userId="cad40627-4d93-4324-b144-18a7e046d981" providerId="ADAL" clId="{33619D88-3F50-494B-83B9-988F8B17CC2F}" dt="2023-03-17T06:46:59.063" v="703" actId="478"/>
          <ac:grpSpMkLst>
            <pc:docMk/>
            <pc:sldMk cId="3191430499" sldId="2147469706"/>
            <ac:grpSpMk id="475" creationId="{E451C54A-F43F-1994-2A48-8D108CD1CF8B}"/>
          </ac:grpSpMkLst>
        </pc:grpChg>
        <pc:grpChg chg="add del mod">
          <ac:chgData name="Anjali Jaisinghani" userId="cad40627-4d93-4324-b144-18a7e046d981" providerId="ADAL" clId="{33619D88-3F50-494B-83B9-988F8B17CC2F}" dt="2023-03-17T06:46:59.063" v="703" actId="478"/>
          <ac:grpSpMkLst>
            <pc:docMk/>
            <pc:sldMk cId="3191430499" sldId="2147469706"/>
            <ac:grpSpMk id="478" creationId="{0B11B1FF-AD72-DF78-34ED-B72E0EB57CA5}"/>
          </ac:grpSpMkLst>
        </pc:grpChg>
        <pc:grpChg chg="add del mod">
          <ac:chgData name="Anjali Jaisinghani" userId="cad40627-4d93-4324-b144-18a7e046d981" providerId="ADAL" clId="{33619D88-3F50-494B-83B9-988F8B17CC2F}" dt="2023-03-17T06:46:59.063" v="703" actId="478"/>
          <ac:grpSpMkLst>
            <pc:docMk/>
            <pc:sldMk cId="3191430499" sldId="2147469706"/>
            <ac:grpSpMk id="481" creationId="{AAE5C77F-2A90-6701-5AEB-E5CC087983D4}"/>
          </ac:grpSpMkLst>
        </pc:grpChg>
        <pc:grpChg chg="del mod topLvl">
          <ac:chgData name="Anjali Jaisinghani" userId="cad40627-4d93-4324-b144-18a7e046d981" providerId="ADAL" clId="{33619D88-3F50-494B-83B9-988F8B17CC2F}" dt="2023-03-17T06:49:32.698" v="738" actId="478"/>
          <ac:grpSpMkLst>
            <pc:docMk/>
            <pc:sldMk cId="3191430499" sldId="2147469706"/>
            <ac:grpSpMk id="482" creationId="{C27C811A-1338-6734-CD58-28E38575E638}"/>
          </ac:grpSpMkLst>
        </pc:grpChg>
        <pc:grpChg chg="del">
          <ac:chgData name="Anjali Jaisinghani" userId="cad40627-4d93-4324-b144-18a7e046d981" providerId="ADAL" clId="{33619D88-3F50-494B-83B9-988F8B17CC2F}" dt="2023-03-17T06:47:55.571" v="720" actId="478"/>
          <ac:grpSpMkLst>
            <pc:docMk/>
            <pc:sldMk cId="3191430499" sldId="2147469706"/>
            <ac:grpSpMk id="485" creationId="{43320D31-3331-E6BF-BDBB-26F84CDB050B}"/>
          </ac:grpSpMkLst>
        </pc:grpChg>
        <pc:grpChg chg="add del mod">
          <ac:chgData name="Anjali Jaisinghani" userId="cad40627-4d93-4324-b144-18a7e046d981" providerId="ADAL" clId="{33619D88-3F50-494B-83B9-988F8B17CC2F}" dt="2023-03-17T06:46:59.063" v="703" actId="478"/>
          <ac:grpSpMkLst>
            <pc:docMk/>
            <pc:sldMk cId="3191430499" sldId="2147469706"/>
            <ac:grpSpMk id="490" creationId="{71CC5442-3D5A-ECC6-26D8-A5F8EC6D9D4E}"/>
          </ac:grpSpMkLst>
        </pc:grpChg>
        <pc:grpChg chg="add del mod">
          <ac:chgData name="Anjali Jaisinghani" userId="cad40627-4d93-4324-b144-18a7e046d981" providerId="ADAL" clId="{33619D88-3F50-494B-83B9-988F8B17CC2F}" dt="2023-03-17T06:46:59.063" v="703" actId="478"/>
          <ac:grpSpMkLst>
            <pc:docMk/>
            <pc:sldMk cId="3191430499" sldId="2147469706"/>
            <ac:grpSpMk id="493" creationId="{D2EA5E6C-7803-B91E-7AD5-8480DD1143D0}"/>
          </ac:grpSpMkLst>
        </pc:grpChg>
        <pc:grpChg chg="del mod topLvl">
          <ac:chgData name="Anjali Jaisinghani" userId="cad40627-4d93-4324-b144-18a7e046d981" providerId="ADAL" clId="{33619D88-3F50-494B-83B9-988F8B17CC2F}" dt="2023-03-17T06:49:13.365" v="735" actId="478"/>
          <ac:grpSpMkLst>
            <pc:docMk/>
            <pc:sldMk cId="3191430499" sldId="2147469706"/>
            <ac:grpSpMk id="494" creationId="{5A881AEF-D62C-BDB4-F9D1-189E6D31626C}"/>
          </ac:grpSpMkLst>
        </pc:grpChg>
        <pc:grpChg chg="del mod">
          <ac:chgData name="Anjali Jaisinghani" userId="cad40627-4d93-4324-b144-18a7e046d981" providerId="ADAL" clId="{33619D88-3F50-494B-83B9-988F8B17CC2F}" dt="2023-03-17T06:49:29.988" v="737" actId="165"/>
          <ac:grpSpMkLst>
            <pc:docMk/>
            <pc:sldMk cId="3191430499" sldId="2147469706"/>
            <ac:grpSpMk id="498" creationId="{039243D1-7BBB-59B2-EEF9-5158FD56D631}"/>
          </ac:grpSpMkLst>
        </pc:grpChg>
        <pc:grpChg chg="add del mod">
          <ac:chgData name="Anjali Jaisinghani" userId="cad40627-4d93-4324-b144-18a7e046d981" providerId="ADAL" clId="{33619D88-3F50-494B-83B9-988F8B17CC2F}" dt="2023-03-17T06:46:59.063" v="703" actId="478"/>
          <ac:grpSpMkLst>
            <pc:docMk/>
            <pc:sldMk cId="3191430499" sldId="2147469706"/>
            <ac:grpSpMk id="500" creationId="{E951B005-E6A2-D7F6-E835-D11008D57144}"/>
          </ac:grpSpMkLst>
        </pc:grpChg>
        <pc:grpChg chg="del mod">
          <ac:chgData name="Anjali Jaisinghani" userId="cad40627-4d93-4324-b144-18a7e046d981" providerId="ADAL" clId="{33619D88-3F50-494B-83B9-988F8B17CC2F}" dt="2023-03-17T06:49:10.059" v="734" actId="165"/>
          <ac:grpSpMkLst>
            <pc:docMk/>
            <pc:sldMk cId="3191430499" sldId="2147469706"/>
            <ac:grpSpMk id="502" creationId="{EA290CC1-E7CF-F143-36FC-B5AC1C2D3128}"/>
          </ac:grpSpMkLst>
        </pc:grpChg>
        <pc:grpChg chg="add del mod">
          <ac:chgData name="Anjali Jaisinghani" userId="cad40627-4d93-4324-b144-18a7e046d981" providerId="ADAL" clId="{33619D88-3F50-494B-83B9-988F8B17CC2F}" dt="2023-03-17T06:47:01.774" v="704" actId="478"/>
          <ac:grpSpMkLst>
            <pc:docMk/>
            <pc:sldMk cId="3191430499" sldId="2147469706"/>
            <ac:grpSpMk id="504" creationId="{99379294-7779-AEC2-17F7-5D193FEBBE03}"/>
          </ac:grpSpMkLst>
        </pc:grpChg>
        <pc:grpChg chg="del mod">
          <ac:chgData name="Anjali Jaisinghani" userId="cad40627-4d93-4324-b144-18a7e046d981" providerId="ADAL" clId="{33619D88-3F50-494B-83B9-988F8B17CC2F}" dt="2023-03-17T06:48:01.690" v="721" actId="478"/>
          <ac:grpSpMkLst>
            <pc:docMk/>
            <pc:sldMk cId="3191430499" sldId="2147469706"/>
            <ac:grpSpMk id="507" creationId="{26BDD66E-D7E7-A7A3-3EEB-DEB1427AFC1F}"/>
          </ac:grpSpMkLst>
        </pc:grpChg>
        <pc:grpChg chg="add del mod">
          <ac:chgData name="Anjali Jaisinghani" userId="cad40627-4d93-4324-b144-18a7e046d981" providerId="ADAL" clId="{33619D88-3F50-494B-83B9-988F8B17CC2F}" dt="2023-03-17T06:47:49.473" v="718" actId="478"/>
          <ac:grpSpMkLst>
            <pc:docMk/>
            <pc:sldMk cId="3191430499" sldId="2147469706"/>
            <ac:grpSpMk id="508" creationId="{32C840B7-F3C7-6055-3EF1-8B0D2D7A7AB2}"/>
          </ac:grpSpMkLst>
        </pc:grpChg>
        <pc:grpChg chg="add del mod">
          <ac:chgData name="Anjali Jaisinghani" userId="cad40627-4d93-4324-b144-18a7e046d981" providerId="ADAL" clId="{33619D88-3F50-494B-83B9-988F8B17CC2F}" dt="2023-03-17T06:50:14.151" v="746" actId="478"/>
          <ac:grpSpMkLst>
            <pc:docMk/>
            <pc:sldMk cId="3191430499" sldId="2147469706"/>
            <ac:grpSpMk id="511" creationId="{6A703B15-0A36-3F8E-EEA5-D81D53A9F62A}"/>
          </ac:grpSpMkLst>
        </pc:grpChg>
        <pc:grpChg chg="add mod ord">
          <ac:chgData name="Anjali Jaisinghani" userId="cad40627-4d93-4324-b144-18a7e046d981" providerId="ADAL" clId="{33619D88-3F50-494B-83B9-988F8B17CC2F}" dt="2023-03-20T08:01:54.906" v="7101" actId="1076"/>
          <ac:grpSpMkLst>
            <pc:docMk/>
            <pc:sldMk cId="3191430499" sldId="2147469706"/>
            <ac:grpSpMk id="515" creationId="{CA415A24-13E1-907C-F4C2-8834139688DE}"/>
          </ac:grpSpMkLst>
        </pc:grpChg>
        <pc:grpChg chg="del mod topLvl">
          <ac:chgData name="Anjali Jaisinghani" userId="cad40627-4d93-4324-b144-18a7e046d981" providerId="ADAL" clId="{33619D88-3F50-494B-83B9-988F8B17CC2F}" dt="2023-03-17T06:48:41.441" v="728" actId="478"/>
          <ac:grpSpMkLst>
            <pc:docMk/>
            <pc:sldMk cId="3191430499" sldId="2147469706"/>
            <ac:grpSpMk id="517" creationId="{C5F10D32-AD44-D495-2FFB-E213FA69023C}"/>
          </ac:grpSpMkLst>
        </pc:grpChg>
        <pc:grpChg chg="del mod">
          <ac:chgData name="Anjali Jaisinghani" userId="cad40627-4d93-4324-b144-18a7e046d981" providerId="ADAL" clId="{33619D88-3F50-494B-83B9-988F8B17CC2F}" dt="2023-03-17T06:47:45.214" v="716" actId="478"/>
          <ac:grpSpMkLst>
            <pc:docMk/>
            <pc:sldMk cId="3191430499" sldId="2147469706"/>
            <ac:grpSpMk id="520" creationId="{C82FABC3-A1AF-0ED6-7E84-F354EA718309}"/>
          </ac:grpSpMkLst>
        </pc:grpChg>
        <pc:grpChg chg="del mod topLvl">
          <ac:chgData name="Anjali Jaisinghani" userId="cad40627-4d93-4324-b144-18a7e046d981" providerId="ADAL" clId="{33619D88-3F50-494B-83B9-988F8B17CC2F}" dt="2023-03-17T06:48:34.494" v="726" actId="478"/>
          <ac:grpSpMkLst>
            <pc:docMk/>
            <pc:sldMk cId="3191430499" sldId="2147469706"/>
            <ac:grpSpMk id="523" creationId="{6D257FB3-374D-030C-4531-E0D3512F8327}"/>
          </ac:grpSpMkLst>
        </pc:grpChg>
        <pc:grpChg chg="add mod">
          <ac:chgData name="Anjali Jaisinghani" userId="cad40627-4d93-4324-b144-18a7e046d981" providerId="ADAL" clId="{33619D88-3F50-494B-83B9-988F8B17CC2F}" dt="2023-03-20T08:01:54.906" v="7101" actId="1076"/>
          <ac:grpSpMkLst>
            <pc:docMk/>
            <pc:sldMk cId="3191430499" sldId="2147469706"/>
            <ac:grpSpMk id="525" creationId="{02DAFB80-B2AF-A619-E4BF-3AFF64BFA983}"/>
          </ac:grpSpMkLst>
        </pc:grpChg>
        <pc:grpChg chg="del mod">
          <ac:chgData name="Anjali Jaisinghani" userId="cad40627-4d93-4324-b144-18a7e046d981" providerId="ADAL" clId="{33619D88-3F50-494B-83B9-988F8B17CC2F}" dt="2023-03-17T06:48:28.496" v="725" actId="165"/>
          <ac:grpSpMkLst>
            <pc:docMk/>
            <pc:sldMk cId="3191430499" sldId="2147469706"/>
            <ac:grpSpMk id="526" creationId="{0975A443-AC53-D091-0518-F13040375C6F}"/>
          </ac:grpSpMkLst>
        </pc:grpChg>
        <pc:grpChg chg="mod">
          <ac:chgData name="Anjali Jaisinghani" userId="cad40627-4d93-4324-b144-18a7e046d981" providerId="ADAL" clId="{33619D88-3F50-494B-83B9-988F8B17CC2F}" dt="2023-03-20T05:11:44.049" v="5199"/>
          <ac:grpSpMkLst>
            <pc:docMk/>
            <pc:sldMk cId="3191430499" sldId="2147469706"/>
            <ac:grpSpMk id="527" creationId="{3CC43E0B-73B1-F612-9E5E-938318E0E485}"/>
          </ac:grpSpMkLst>
        </pc:grpChg>
        <pc:grpChg chg="del mod">
          <ac:chgData name="Anjali Jaisinghani" userId="cad40627-4d93-4324-b144-18a7e046d981" providerId="ADAL" clId="{33619D88-3F50-494B-83B9-988F8B17CC2F}" dt="2023-03-17T06:48:38.289" v="727" actId="165"/>
          <ac:grpSpMkLst>
            <pc:docMk/>
            <pc:sldMk cId="3191430499" sldId="2147469706"/>
            <ac:grpSpMk id="527" creationId="{C3535A8D-052A-BE81-C036-4465BB8043E5}"/>
          </ac:grpSpMkLst>
        </pc:grpChg>
        <pc:grpChg chg="del mod">
          <ac:chgData name="Anjali Jaisinghani" userId="cad40627-4d93-4324-b144-18a7e046d981" providerId="ADAL" clId="{33619D88-3F50-494B-83B9-988F8B17CC2F}" dt="2023-03-17T06:48:45.733" v="729" actId="165"/>
          <ac:grpSpMkLst>
            <pc:docMk/>
            <pc:sldMk cId="3191430499" sldId="2147469706"/>
            <ac:grpSpMk id="528" creationId="{D2F17A78-FBB6-0FFE-56E6-23DB81C01CBC}"/>
          </ac:grpSpMkLst>
        </pc:grpChg>
        <pc:grpChg chg="del mod topLvl">
          <ac:chgData name="Anjali Jaisinghani" userId="cad40627-4d93-4324-b144-18a7e046d981" providerId="ADAL" clId="{33619D88-3F50-494B-83B9-988F8B17CC2F}" dt="2023-03-17T06:48:48.169" v="730" actId="478"/>
          <ac:grpSpMkLst>
            <pc:docMk/>
            <pc:sldMk cId="3191430499" sldId="2147469706"/>
            <ac:grpSpMk id="530" creationId="{AF965E7B-7747-A423-7ADB-35417ABC5481}"/>
          </ac:grpSpMkLst>
        </pc:grpChg>
        <pc:grpChg chg="del mod">
          <ac:chgData name="Anjali Jaisinghani" userId="cad40627-4d93-4324-b144-18a7e046d981" providerId="ADAL" clId="{33619D88-3F50-494B-83B9-988F8B17CC2F}" dt="2023-03-17T06:48:56.625" v="731" actId="165"/>
          <ac:grpSpMkLst>
            <pc:docMk/>
            <pc:sldMk cId="3191430499" sldId="2147469706"/>
            <ac:grpSpMk id="535" creationId="{A73CC377-1762-625C-78AA-733C512C5279}"/>
          </ac:grpSpMkLst>
        </pc:grpChg>
        <pc:grpChg chg="del mod topLvl">
          <ac:chgData name="Anjali Jaisinghani" userId="cad40627-4d93-4324-b144-18a7e046d981" providerId="ADAL" clId="{33619D88-3F50-494B-83B9-988F8B17CC2F}" dt="2023-03-17T06:49:00.819" v="732" actId="478"/>
          <ac:grpSpMkLst>
            <pc:docMk/>
            <pc:sldMk cId="3191430499" sldId="2147469706"/>
            <ac:grpSpMk id="537" creationId="{6BCBA4F0-7F89-4062-6C37-51D8440E995B}"/>
          </ac:grpSpMkLst>
        </pc:grpChg>
        <pc:grpChg chg="add mod">
          <ac:chgData name="Anjali Jaisinghani" userId="cad40627-4d93-4324-b144-18a7e046d981" providerId="ADAL" clId="{33619D88-3F50-494B-83B9-988F8B17CC2F}" dt="2023-03-20T08:01:54.906" v="7101" actId="1076"/>
          <ac:grpSpMkLst>
            <pc:docMk/>
            <pc:sldMk cId="3191430499" sldId="2147469706"/>
            <ac:grpSpMk id="559" creationId="{BF25F583-C3E6-9C55-0E87-5FA2AC6DC424}"/>
          </ac:grpSpMkLst>
        </pc:grpChg>
        <pc:grpChg chg="add mod">
          <ac:chgData name="Anjali Jaisinghani" userId="cad40627-4d93-4324-b144-18a7e046d981" providerId="ADAL" clId="{33619D88-3F50-494B-83B9-988F8B17CC2F}" dt="2023-03-20T08:06:57.240" v="7245" actId="1076"/>
          <ac:grpSpMkLst>
            <pc:docMk/>
            <pc:sldMk cId="3191430499" sldId="2147469706"/>
            <ac:grpSpMk id="561" creationId="{6F0EBE99-A1F2-B6A3-A395-66F584C5A1A8}"/>
          </ac:grpSpMkLst>
        </pc:grpChg>
        <pc:grpChg chg="add mod topLvl">
          <ac:chgData name="Anjali Jaisinghani" userId="cad40627-4d93-4324-b144-18a7e046d981" providerId="ADAL" clId="{33619D88-3F50-494B-83B9-988F8B17CC2F}" dt="2023-03-17T07:20:46.138" v="873" actId="164"/>
          <ac:grpSpMkLst>
            <pc:docMk/>
            <pc:sldMk cId="3191430499" sldId="2147469706"/>
            <ac:grpSpMk id="563" creationId="{1EFBCAAE-3F1C-8184-1EE4-E02781DCD6FA}"/>
          </ac:grpSpMkLst>
        </pc:grpChg>
        <pc:grpChg chg="add mod">
          <ac:chgData name="Anjali Jaisinghani" userId="cad40627-4d93-4324-b144-18a7e046d981" providerId="ADAL" clId="{33619D88-3F50-494B-83B9-988F8B17CC2F}" dt="2023-03-20T08:01:54.906" v="7101" actId="1076"/>
          <ac:grpSpMkLst>
            <pc:docMk/>
            <pc:sldMk cId="3191430499" sldId="2147469706"/>
            <ac:grpSpMk id="564" creationId="{5A9543DB-6828-EB07-CBA0-A05CFE35A702}"/>
          </ac:grpSpMkLst>
        </pc:grpChg>
        <pc:grpChg chg="add mod">
          <ac:chgData name="Anjali Jaisinghani" userId="cad40627-4d93-4324-b144-18a7e046d981" providerId="ADAL" clId="{33619D88-3F50-494B-83B9-988F8B17CC2F}" dt="2023-03-20T08:01:54.906" v="7101" actId="1076"/>
          <ac:grpSpMkLst>
            <pc:docMk/>
            <pc:sldMk cId="3191430499" sldId="2147469706"/>
            <ac:grpSpMk id="567" creationId="{A1BD1013-4950-A075-F71D-669C5A78CC2D}"/>
          </ac:grpSpMkLst>
        </pc:grpChg>
        <pc:grpChg chg="add mod">
          <ac:chgData name="Anjali Jaisinghani" userId="cad40627-4d93-4324-b144-18a7e046d981" providerId="ADAL" clId="{33619D88-3F50-494B-83B9-988F8B17CC2F}" dt="2023-03-20T08:01:54.906" v="7101" actId="1076"/>
          <ac:grpSpMkLst>
            <pc:docMk/>
            <pc:sldMk cId="3191430499" sldId="2147469706"/>
            <ac:grpSpMk id="570" creationId="{315A79A5-4852-855F-92E2-58D9167D9116}"/>
          </ac:grpSpMkLst>
        </pc:grpChg>
        <pc:grpChg chg="add mod">
          <ac:chgData name="Anjali Jaisinghani" userId="cad40627-4d93-4324-b144-18a7e046d981" providerId="ADAL" clId="{33619D88-3F50-494B-83B9-988F8B17CC2F}" dt="2023-03-17T07:15:22.845" v="815" actId="164"/>
          <ac:grpSpMkLst>
            <pc:docMk/>
            <pc:sldMk cId="3191430499" sldId="2147469706"/>
            <ac:grpSpMk id="573" creationId="{35239165-6409-77FF-3E34-63943C170752}"/>
          </ac:grpSpMkLst>
        </pc:grpChg>
        <pc:grpChg chg="mod">
          <ac:chgData name="Anjali Jaisinghani" userId="cad40627-4d93-4324-b144-18a7e046d981" providerId="ADAL" clId="{33619D88-3F50-494B-83B9-988F8B17CC2F}" dt="2023-03-20T06:14:11.361" v="6435" actId="164"/>
          <ac:grpSpMkLst>
            <pc:docMk/>
            <pc:sldMk cId="3191430499" sldId="2147469706"/>
            <ac:grpSpMk id="662" creationId="{6EE5A9B1-4589-242D-F094-137DC4A81DBA}"/>
          </ac:grpSpMkLst>
        </pc:grpChg>
        <pc:grpChg chg="del mod">
          <ac:chgData name="Anjali Jaisinghani" userId="cad40627-4d93-4324-b144-18a7e046d981" providerId="ADAL" clId="{33619D88-3F50-494B-83B9-988F8B17CC2F}" dt="2023-03-17T06:49:37.041" v="739" actId="478"/>
          <ac:grpSpMkLst>
            <pc:docMk/>
            <pc:sldMk cId="3191430499" sldId="2147469706"/>
            <ac:grpSpMk id="665" creationId="{F4FCAC64-7E04-253C-E5A4-95ACCBFAC0FF}"/>
          </ac:grpSpMkLst>
        </pc:grpChg>
        <pc:grpChg chg="del mod">
          <ac:chgData name="Anjali Jaisinghani" userId="cad40627-4d93-4324-b144-18a7e046d981" providerId="ADAL" clId="{33619D88-3F50-494B-83B9-988F8B17CC2F}" dt="2023-03-17T06:47:47.368" v="717" actId="478"/>
          <ac:grpSpMkLst>
            <pc:docMk/>
            <pc:sldMk cId="3191430499" sldId="2147469706"/>
            <ac:grpSpMk id="668" creationId="{952C3ED1-D626-E5E5-EC1F-3F6F27A193DB}"/>
          </ac:grpSpMkLst>
        </pc:grpChg>
        <pc:picChg chg="mod">
          <ac:chgData name="Anjali Jaisinghani" userId="cad40627-4d93-4324-b144-18a7e046d981" providerId="ADAL" clId="{33619D88-3F50-494B-83B9-988F8B17CC2F}" dt="2023-03-20T08:01:54.906" v="7101" actId="1076"/>
          <ac:picMkLst>
            <pc:docMk/>
            <pc:sldMk cId="3191430499" sldId="2147469706"/>
            <ac:picMk id="534" creationId="{49F99FCC-FC8D-F457-5202-49E0E6303DD2}"/>
          </ac:picMkLst>
        </pc:picChg>
        <pc:cxnChg chg="mod">
          <ac:chgData name="Anjali Jaisinghani" userId="cad40627-4d93-4324-b144-18a7e046d981" providerId="ADAL" clId="{33619D88-3F50-494B-83B9-988F8B17CC2F}" dt="2023-03-20T08:01:54.906" v="7101" actId="1076"/>
          <ac:cxnSpMkLst>
            <pc:docMk/>
            <pc:sldMk cId="3191430499" sldId="2147469706"/>
            <ac:cxnSpMk id="7" creationId="{95FE2F05-EDE4-0A7E-F713-175DB79C3659}"/>
          </ac:cxnSpMkLst>
        </pc:cxnChg>
        <pc:cxnChg chg="mod">
          <ac:chgData name="Anjali Jaisinghani" userId="cad40627-4d93-4324-b144-18a7e046d981" providerId="ADAL" clId="{33619D88-3F50-494B-83B9-988F8B17CC2F}" dt="2023-03-20T08:01:54.906" v="7101" actId="1076"/>
          <ac:cxnSpMkLst>
            <pc:docMk/>
            <pc:sldMk cId="3191430499" sldId="2147469706"/>
            <ac:cxnSpMk id="8" creationId="{4F59A4DB-D081-ABE4-F27F-13EEDABB27BB}"/>
          </ac:cxnSpMkLst>
        </pc:cxnChg>
        <pc:cxnChg chg="mod">
          <ac:chgData name="Anjali Jaisinghani" userId="cad40627-4d93-4324-b144-18a7e046d981" providerId="ADAL" clId="{33619D88-3F50-494B-83B9-988F8B17CC2F}" dt="2023-03-20T08:01:54.906" v="7101" actId="1076"/>
          <ac:cxnSpMkLst>
            <pc:docMk/>
            <pc:sldMk cId="3191430499" sldId="2147469706"/>
            <ac:cxnSpMk id="75" creationId="{4355A9A8-5A63-3E24-0241-834E2172A602}"/>
          </ac:cxnSpMkLst>
        </pc:cxnChg>
        <pc:cxnChg chg="del mod">
          <ac:chgData name="Anjali Jaisinghani" userId="cad40627-4d93-4324-b144-18a7e046d981" providerId="ADAL" clId="{33619D88-3F50-494B-83B9-988F8B17CC2F}" dt="2023-03-20T04:47:54.743" v="4653" actId="478"/>
          <ac:cxnSpMkLst>
            <pc:docMk/>
            <pc:sldMk cId="3191430499" sldId="2147469706"/>
            <ac:cxnSpMk id="76" creationId="{8BA01471-D260-81DA-CC3D-CC293C554504}"/>
          </ac:cxnSpMkLst>
        </pc:cxnChg>
        <pc:cxnChg chg="mod">
          <ac:chgData name="Anjali Jaisinghani" userId="cad40627-4d93-4324-b144-18a7e046d981" providerId="ADAL" clId="{33619D88-3F50-494B-83B9-988F8B17CC2F}" dt="2023-03-20T08:01:54.906" v="7101" actId="1076"/>
          <ac:cxnSpMkLst>
            <pc:docMk/>
            <pc:sldMk cId="3191430499" sldId="2147469706"/>
            <ac:cxnSpMk id="77" creationId="{50B725C6-8F56-1DF3-F47E-45ACEC875E37}"/>
          </ac:cxnSpMkLst>
        </pc:cxnChg>
        <pc:cxnChg chg="mod">
          <ac:chgData name="Anjali Jaisinghani" userId="cad40627-4d93-4324-b144-18a7e046d981" providerId="ADAL" clId="{33619D88-3F50-494B-83B9-988F8B17CC2F}" dt="2023-03-20T08:01:54.906" v="7101" actId="1076"/>
          <ac:cxnSpMkLst>
            <pc:docMk/>
            <pc:sldMk cId="3191430499" sldId="2147469706"/>
            <ac:cxnSpMk id="82" creationId="{6B063608-8B50-A9E2-8B30-50F12FB69535}"/>
          </ac:cxnSpMkLst>
        </pc:cxnChg>
        <pc:cxnChg chg="mod">
          <ac:chgData name="Anjali Jaisinghani" userId="cad40627-4d93-4324-b144-18a7e046d981" providerId="ADAL" clId="{33619D88-3F50-494B-83B9-988F8B17CC2F}" dt="2023-03-20T08:01:54.906" v="7101" actId="1076"/>
          <ac:cxnSpMkLst>
            <pc:docMk/>
            <pc:sldMk cId="3191430499" sldId="2147469706"/>
            <ac:cxnSpMk id="83" creationId="{2AA265A6-EB33-6603-6CD5-2B3FF31BE3A1}"/>
          </ac:cxnSpMkLst>
        </pc:cxnChg>
        <pc:cxnChg chg="add mod">
          <ac:chgData name="Anjali Jaisinghani" userId="cad40627-4d93-4324-b144-18a7e046d981" providerId="ADAL" clId="{33619D88-3F50-494B-83B9-988F8B17CC2F}" dt="2023-03-20T08:01:54.906" v="7101" actId="1076"/>
          <ac:cxnSpMkLst>
            <pc:docMk/>
            <pc:sldMk cId="3191430499" sldId="2147469706"/>
            <ac:cxnSpMk id="112" creationId="{A82E02FB-AB6E-2693-FF37-414C4DF066CA}"/>
          </ac:cxnSpMkLst>
        </pc:cxnChg>
        <pc:cxnChg chg="add mod">
          <ac:chgData name="Anjali Jaisinghani" userId="cad40627-4d93-4324-b144-18a7e046d981" providerId="ADAL" clId="{33619D88-3F50-494B-83B9-988F8B17CC2F}" dt="2023-03-20T08:00:49.048" v="7093" actId="1582"/>
          <ac:cxnSpMkLst>
            <pc:docMk/>
            <pc:sldMk cId="3191430499" sldId="2147469706"/>
            <ac:cxnSpMk id="178" creationId="{FBB410CA-CB77-1D3E-C084-0F7C40F7ED5A}"/>
          </ac:cxnSpMkLst>
        </pc:cxnChg>
        <pc:cxnChg chg="add mod">
          <ac:chgData name="Anjali Jaisinghani" userId="cad40627-4d93-4324-b144-18a7e046d981" providerId="ADAL" clId="{33619D88-3F50-494B-83B9-988F8B17CC2F}" dt="2023-03-20T08:00:56.614" v="7095" actId="1076"/>
          <ac:cxnSpMkLst>
            <pc:docMk/>
            <pc:sldMk cId="3191430499" sldId="2147469706"/>
            <ac:cxnSpMk id="179" creationId="{C624C10E-EBDF-94AB-9FAB-4D69E75AAA18}"/>
          </ac:cxnSpMkLst>
        </pc:cxnChg>
        <pc:cxnChg chg="add mod ord">
          <ac:chgData name="Anjali Jaisinghani" userId="cad40627-4d93-4324-b144-18a7e046d981" providerId="ADAL" clId="{33619D88-3F50-494B-83B9-988F8B17CC2F}" dt="2023-03-20T09:55:13.168" v="8235" actId="1076"/>
          <ac:cxnSpMkLst>
            <pc:docMk/>
            <pc:sldMk cId="3191430499" sldId="2147469706"/>
            <ac:cxnSpMk id="181" creationId="{F27AA5BE-A636-14E5-D7DD-9FDFD3543FD7}"/>
          </ac:cxnSpMkLst>
        </pc:cxnChg>
        <pc:cxnChg chg="mod">
          <ac:chgData name="Anjali Jaisinghani" userId="cad40627-4d93-4324-b144-18a7e046d981" providerId="ADAL" clId="{33619D88-3F50-494B-83B9-988F8B17CC2F}" dt="2023-03-20T08:01:54.906" v="7101" actId="1076"/>
          <ac:cxnSpMkLst>
            <pc:docMk/>
            <pc:sldMk cId="3191430499" sldId="2147469706"/>
            <ac:cxnSpMk id="249" creationId="{F92798BE-7BF2-6395-7C06-AD5B4A1AB6B7}"/>
          </ac:cxnSpMkLst>
        </pc:cxnChg>
        <pc:cxnChg chg="mod">
          <ac:chgData name="Anjali Jaisinghani" userId="cad40627-4d93-4324-b144-18a7e046d981" providerId="ADAL" clId="{33619D88-3F50-494B-83B9-988F8B17CC2F}" dt="2023-03-20T08:08:07.233" v="7254" actId="14100"/>
          <ac:cxnSpMkLst>
            <pc:docMk/>
            <pc:sldMk cId="3191430499" sldId="2147469706"/>
            <ac:cxnSpMk id="259" creationId="{ED527DA4-446D-8C8A-E777-BBA04519788D}"/>
          </ac:cxnSpMkLst>
        </pc:cxnChg>
        <pc:cxnChg chg="del mod">
          <ac:chgData name="Anjali Jaisinghani" userId="cad40627-4d93-4324-b144-18a7e046d981" providerId="ADAL" clId="{33619D88-3F50-494B-83B9-988F8B17CC2F}" dt="2023-03-20T04:48:00.686" v="4655" actId="478"/>
          <ac:cxnSpMkLst>
            <pc:docMk/>
            <pc:sldMk cId="3191430499" sldId="2147469706"/>
            <ac:cxnSpMk id="272" creationId="{917275FF-726F-0832-CDAB-996FC597CE19}"/>
          </ac:cxnSpMkLst>
        </pc:cxnChg>
        <pc:cxnChg chg="mod">
          <ac:chgData name="Anjali Jaisinghani" userId="cad40627-4d93-4324-b144-18a7e046d981" providerId="ADAL" clId="{33619D88-3F50-494B-83B9-988F8B17CC2F}" dt="2023-03-20T08:01:54.906" v="7101" actId="1076"/>
          <ac:cxnSpMkLst>
            <pc:docMk/>
            <pc:sldMk cId="3191430499" sldId="2147469706"/>
            <ac:cxnSpMk id="290" creationId="{D71A501C-6375-64C0-F089-A1941560F6FE}"/>
          </ac:cxnSpMkLst>
        </pc:cxnChg>
        <pc:cxnChg chg="del mod">
          <ac:chgData name="Anjali Jaisinghani" userId="cad40627-4d93-4324-b144-18a7e046d981" providerId="ADAL" clId="{33619D88-3F50-494B-83B9-988F8B17CC2F}" dt="2023-03-20T04:45:42.705" v="4628" actId="478"/>
          <ac:cxnSpMkLst>
            <pc:docMk/>
            <pc:sldMk cId="3191430499" sldId="2147469706"/>
            <ac:cxnSpMk id="310" creationId="{D6EEE9AB-F956-57F6-E83A-30F92ECEF65E}"/>
          </ac:cxnSpMkLst>
        </pc:cxnChg>
        <pc:cxnChg chg="mod">
          <ac:chgData name="Anjali Jaisinghani" userId="cad40627-4d93-4324-b144-18a7e046d981" providerId="ADAL" clId="{33619D88-3F50-494B-83B9-988F8B17CC2F}" dt="2023-03-20T08:06:02.656" v="7241" actId="14100"/>
          <ac:cxnSpMkLst>
            <pc:docMk/>
            <pc:sldMk cId="3191430499" sldId="2147469706"/>
            <ac:cxnSpMk id="347" creationId="{1319E8B5-1821-93A4-3EF9-DB8F9B55B712}"/>
          </ac:cxnSpMkLst>
        </pc:cxnChg>
        <pc:cxnChg chg="mod">
          <ac:chgData name="Anjali Jaisinghani" userId="cad40627-4d93-4324-b144-18a7e046d981" providerId="ADAL" clId="{33619D88-3F50-494B-83B9-988F8B17CC2F}" dt="2023-03-20T08:01:54.906" v="7101" actId="1076"/>
          <ac:cxnSpMkLst>
            <pc:docMk/>
            <pc:sldMk cId="3191430499" sldId="2147469706"/>
            <ac:cxnSpMk id="352" creationId="{2EA5BE2A-6D42-EBCF-1685-24C9F74446CC}"/>
          </ac:cxnSpMkLst>
        </pc:cxnChg>
        <pc:cxnChg chg="mod ord">
          <ac:chgData name="Anjali Jaisinghani" userId="cad40627-4d93-4324-b144-18a7e046d981" providerId="ADAL" clId="{33619D88-3F50-494B-83B9-988F8B17CC2F}" dt="2023-03-20T08:01:54.906" v="7101" actId="1076"/>
          <ac:cxnSpMkLst>
            <pc:docMk/>
            <pc:sldMk cId="3191430499" sldId="2147469706"/>
            <ac:cxnSpMk id="375" creationId="{A3B9B7E6-44CE-B94B-1322-3179661BF8DB}"/>
          </ac:cxnSpMkLst>
        </pc:cxnChg>
        <pc:cxnChg chg="mod">
          <ac:chgData name="Anjali Jaisinghani" userId="cad40627-4d93-4324-b144-18a7e046d981" providerId="ADAL" clId="{33619D88-3F50-494B-83B9-988F8B17CC2F}" dt="2023-03-20T08:01:54.906" v="7101" actId="1076"/>
          <ac:cxnSpMkLst>
            <pc:docMk/>
            <pc:sldMk cId="3191430499" sldId="2147469706"/>
            <ac:cxnSpMk id="431" creationId="{7230A068-FE59-F76F-4448-097855653382}"/>
          </ac:cxnSpMkLst>
        </pc:cxnChg>
        <pc:cxnChg chg="add mod">
          <ac:chgData name="Anjali Jaisinghani" userId="cad40627-4d93-4324-b144-18a7e046d981" providerId="ADAL" clId="{33619D88-3F50-494B-83B9-988F8B17CC2F}" dt="2023-03-20T08:01:54.906" v="7101" actId="1076"/>
          <ac:cxnSpMkLst>
            <pc:docMk/>
            <pc:sldMk cId="3191430499" sldId="2147469706"/>
            <ac:cxnSpMk id="518" creationId="{3D0E405F-D466-4776-BAE2-58866E7F3298}"/>
          </ac:cxnSpMkLst>
        </pc:cxnChg>
        <pc:cxnChg chg="add mod">
          <ac:chgData name="Anjali Jaisinghani" userId="cad40627-4d93-4324-b144-18a7e046d981" providerId="ADAL" clId="{33619D88-3F50-494B-83B9-988F8B17CC2F}" dt="2023-03-20T08:01:54.906" v="7101" actId="1076"/>
          <ac:cxnSpMkLst>
            <pc:docMk/>
            <pc:sldMk cId="3191430499" sldId="2147469706"/>
            <ac:cxnSpMk id="521" creationId="{CCFBBB40-AA4B-B24E-91E4-49D42E3DC696}"/>
          </ac:cxnSpMkLst>
        </pc:cxnChg>
        <pc:cxnChg chg="add mod">
          <ac:chgData name="Anjali Jaisinghani" userId="cad40627-4d93-4324-b144-18a7e046d981" providerId="ADAL" clId="{33619D88-3F50-494B-83B9-988F8B17CC2F}" dt="2023-03-20T05:10:38.207" v="5198"/>
          <ac:cxnSpMkLst>
            <pc:docMk/>
            <pc:sldMk cId="3191430499" sldId="2147469706"/>
            <ac:cxnSpMk id="524" creationId="{39DE9AA5-EB79-C4A5-9E8E-401F0CD19B9C}"/>
          </ac:cxnSpMkLst>
        </pc:cxnChg>
        <pc:cxnChg chg="add mod">
          <ac:chgData name="Anjali Jaisinghani" userId="cad40627-4d93-4324-b144-18a7e046d981" providerId="ADAL" clId="{33619D88-3F50-494B-83B9-988F8B17CC2F}" dt="2023-03-20T08:01:54.906" v="7101" actId="1076"/>
          <ac:cxnSpMkLst>
            <pc:docMk/>
            <pc:sldMk cId="3191430499" sldId="2147469706"/>
            <ac:cxnSpMk id="539" creationId="{17593311-1FBE-C00C-E003-3D1ABB65D511}"/>
          </ac:cxnSpMkLst>
        </pc:cxnChg>
        <pc:cxnChg chg="mod">
          <ac:chgData name="Anjali Jaisinghani" userId="cad40627-4d93-4324-b144-18a7e046d981" providerId="ADAL" clId="{33619D88-3F50-494B-83B9-988F8B17CC2F}" dt="2023-03-20T08:01:54.906" v="7101" actId="1076"/>
          <ac:cxnSpMkLst>
            <pc:docMk/>
            <pc:sldMk cId="3191430499" sldId="2147469706"/>
            <ac:cxnSpMk id="541" creationId="{37599CCE-4BBC-E01B-F02B-C7C6D3226508}"/>
          </ac:cxnSpMkLst>
        </pc:cxnChg>
        <pc:cxnChg chg="add mod">
          <ac:chgData name="Anjali Jaisinghani" userId="cad40627-4d93-4324-b144-18a7e046d981" providerId="ADAL" clId="{33619D88-3F50-494B-83B9-988F8B17CC2F}" dt="2023-03-20T08:01:54.906" v="7101" actId="1076"/>
          <ac:cxnSpMkLst>
            <pc:docMk/>
            <pc:sldMk cId="3191430499" sldId="2147469706"/>
            <ac:cxnSpMk id="545" creationId="{29B52A25-E0C3-3D0A-A624-D8F6C280F41D}"/>
          </ac:cxnSpMkLst>
        </pc:cxnChg>
        <pc:cxnChg chg="add mod">
          <ac:chgData name="Anjali Jaisinghani" userId="cad40627-4d93-4324-b144-18a7e046d981" providerId="ADAL" clId="{33619D88-3F50-494B-83B9-988F8B17CC2F}" dt="2023-03-20T08:01:54.906" v="7101" actId="1076"/>
          <ac:cxnSpMkLst>
            <pc:docMk/>
            <pc:sldMk cId="3191430499" sldId="2147469706"/>
            <ac:cxnSpMk id="548" creationId="{63DD5ED3-6F92-4621-266B-692D8AEB3DCC}"/>
          </ac:cxnSpMkLst>
        </pc:cxnChg>
      </pc:sldChg>
      <pc:sldChg chg="addSp delSp modSp add mod modShow">
        <pc:chgData name="Anjali Jaisinghani" userId="cad40627-4d93-4324-b144-18a7e046d981" providerId="ADAL" clId="{33619D88-3F50-494B-83B9-988F8B17CC2F}" dt="2023-03-17T09:11:24.758" v="2301" actId="729"/>
        <pc:sldMkLst>
          <pc:docMk/>
          <pc:sldMk cId="3941683088" sldId="2147469707"/>
        </pc:sldMkLst>
        <pc:spChg chg="add del">
          <ac:chgData name="Anjali Jaisinghani" userId="cad40627-4d93-4324-b144-18a7e046d981" providerId="ADAL" clId="{33619D88-3F50-494B-83B9-988F8B17CC2F}" dt="2023-03-17T07:41:14.146" v="1028" actId="478"/>
          <ac:spMkLst>
            <pc:docMk/>
            <pc:sldMk cId="3941683088" sldId="2147469707"/>
            <ac:spMk id="3" creationId="{BEED6AB6-42E1-4286-B3E1-A19472D324C1}"/>
          </ac:spMkLst>
        </pc:spChg>
        <pc:spChg chg="add del mod">
          <ac:chgData name="Anjali Jaisinghani" userId="cad40627-4d93-4324-b144-18a7e046d981" providerId="ADAL" clId="{33619D88-3F50-494B-83B9-988F8B17CC2F}" dt="2023-03-17T07:41:14.324" v="1029" actId="478"/>
          <ac:spMkLst>
            <pc:docMk/>
            <pc:sldMk cId="3941683088" sldId="2147469707"/>
            <ac:spMk id="8" creationId="{DE84E2F3-CCA8-CD68-F49B-12B9803865DA}"/>
          </ac:spMkLst>
        </pc:spChg>
        <pc:picChg chg="del">
          <ac:chgData name="Anjali Jaisinghani" userId="cad40627-4d93-4324-b144-18a7e046d981" providerId="ADAL" clId="{33619D88-3F50-494B-83B9-988F8B17CC2F}" dt="2023-03-17T07:40:51.506" v="1020" actId="478"/>
          <ac:picMkLst>
            <pc:docMk/>
            <pc:sldMk cId="3941683088" sldId="2147469707"/>
            <ac:picMk id="7" creationId="{A8385362-65B4-A1C6-ADF9-2807D0585E9C}"/>
          </ac:picMkLst>
        </pc:picChg>
        <pc:picChg chg="mod">
          <ac:chgData name="Anjali Jaisinghani" userId="cad40627-4d93-4324-b144-18a7e046d981" providerId="ADAL" clId="{33619D88-3F50-494B-83B9-988F8B17CC2F}" dt="2023-03-17T07:57:48.797" v="1145" actId="1076"/>
          <ac:picMkLst>
            <pc:docMk/>
            <pc:sldMk cId="3941683088" sldId="2147469707"/>
            <ac:picMk id="3076" creationId="{B9089252-96FF-F19B-1C43-E3E3F7CE5134}"/>
          </ac:picMkLst>
        </pc:picChg>
      </pc:sldChg>
      <pc:sldChg chg="addSp delSp modSp add mod ord modShow modNotesTx">
        <pc:chgData name="Anjali Jaisinghani" userId="cad40627-4d93-4324-b144-18a7e046d981" providerId="ADAL" clId="{33619D88-3F50-494B-83B9-988F8B17CC2F}" dt="2023-03-21T05:12:29.958" v="9246" actId="5793"/>
        <pc:sldMkLst>
          <pc:docMk/>
          <pc:sldMk cId="1587547754" sldId="2147469708"/>
        </pc:sldMkLst>
        <pc:spChg chg="mod">
          <ac:chgData name="Anjali Jaisinghani" userId="cad40627-4d93-4324-b144-18a7e046d981" providerId="ADAL" clId="{33619D88-3F50-494B-83B9-988F8B17CC2F}" dt="2023-03-20T08:48:58.775" v="7724" actId="1076"/>
          <ac:spMkLst>
            <pc:docMk/>
            <pc:sldMk cId="1587547754" sldId="2147469708"/>
            <ac:spMk id="3" creationId="{BEED6AB6-42E1-4286-B3E1-A19472D324C1}"/>
          </ac:spMkLst>
        </pc:spChg>
        <pc:spChg chg="add del mod">
          <ac:chgData name="Anjali Jaisinghani" userId="cad40627-4d93-4324-b144-18a7e046d981" providerId="ADAL" clId="{33619D88-3F50-494B-83B9-988F8B17CC2F}" dt="2023-03-17T10:30:48.583" v="2355" actId="478"/>
          <ac:spMkLst>
            <pc:docMk/>
            <pc:sldMk cId="1587547754" sldId="2147469708"/>
            <ac:spMk id="7" creationId="{91BAAC96-D4C7-AE6B-CAD1-D0F8B70CBD1C}"/>
          </ac:spMkLst>
        </pc:spChg>
        <pc:spChg chg="add mod">
          <ac:chgData name="Anjali Jaisinghani" userId="cad40627-4d93-4324-b144-18a7e046d981" providerId="ADAL" clId="{33619D88-3F50-494B-83B9-988F8B17CC2F}" dt="2023-03-20T10:01:01.264" v="8321"/>
          <ac:spMkLst>
            <pc:docMk/>
            <pc:sldMk cId="1587547754" sldId="2147469708"/>
            <ac:spMk id="9" creationId="{EF01C3D8-DFA2-7BBA-8D2C-F4DAEDE5D49E}"/>
          </ac:spMkLst>
        </pc:spChg>
        <pc:spChg chg="add del mod">
          <ac:chgData name="Anjali Jaisinghani" userId="cad40627-4d93-4324-b144-18a7e046d981" providerId="ADAL" clId="{33619D88-3F50-494B-83B9-988F8B17CC2F}" dt="2023-03-20T08:45:24.500" v="7613" actId="478"/>
          <ac:spMkLst>
            <pc:docMk/>
            <pc:sldMk cId="1587547754" sldId="2147469708"/>
            <ac:spMk id="10" creationId="{5B4810D6-B88F-DD0C-910C-55C9AAD24343}"/>
          </ac:spMkLst>
        </pc:spChg>
        <pc:spChg chg="add mod">
          <ac:chgData name="Anjali Jaisinghani" userId="cad40627-4d93-4324-b144-18a7e046d981" providerId="ADAL" clId="{33619D88-3F50-494B-83B9-988F8B17CC2F}" dt="2023-03-20T10:39:51.083" v="8697" actId="20577"/>
          <ac:spMkLst>
            <pc:docMk/>
            <pc:sldMk cId="1587547754" sldId="2147469708"/>
            <ac:spMk id="15" creationId="{701D1454-2C8F-7EDD-E1E4-FD85116E8340}"/>
          </ac:spMkLst>
        </pc:spChg>
        <pc:spChg chg="add mod">
          <ac:chgData name="Anjali Jaisinghani" userId="cad40627-4d93-4324-b144-18a7e046d981" providerId="ADAL" clId="{33619D88-3F50-494B-83B9-988F8B17CC2F}" dt="2023-03-17T10:43:14.445" v="2750" actId="404"/>
          <ac:spMkLst>
            <pc:docMk/>
            <pc:sldMk cId="1587547754" sldId="2147469708"/>
            <ac:spMk id="16" creationId="{1C51F77B-097A-4333-3EE5-A1168A47373D}"/>
          </ac:spMkLst>
        </pc:spChg>
        <pc:spChg chg="add mod">
          <ac:chgData name="Anjali Jaisinghani" userId="cad40627-4d93-4324-b144-18a7e046d981" providerId="ADAL" clId="{33619D88-3F50-494B-83B9-988F8B17CC2F}" dt="2023-03-20T05:27:45.414" v="5539" actId="20577"/>
          <ac:spMkLst>
            <pc:docMk/>
            <pc:sldMk cId="1587547754" sldId="2147469708"/>
            <ac:spMk id="17" creationId="{E59F1463-2E24-4960-326F-F9D9D46554B5}"/>
          </ac:spMkLst>
        </pc:spChg>
        <pc:spChg chg="add del mod">
          <ac:chgData name="Anjali Jaisinghani" userId="cad40627-4d93-4324-b144-18a7e046d981" providerId="ADAL" clId="{33619D88-3F50-494B-83B9-988F8B17CC2F}" dt="2023-03-17T10:55:35.496" v="3599" actId="478"/>
          <ac:spMkLst>
            <pc:docMk/>
            <pc:sldMk cId="1587547754" sldId="2147469708"/>
            <ac:spMk id="25" creationId="{3DA6BFE2-A3EA-BCE9-742A-70DA25325C47}"/>
          </ac:spMkLst>
        </pc:spChg>
        <pc:spChg chg="add mod">
          <ac:chgData name="Anjali Jaisinghani" userId="cad40627-4d93-4324-b144-18a7e046d981" providerId="ADAL" clId="{33619D88-3F50-494B-83B9-988F8B17CC2F}" dt="2023-03-17T10:57:39.593" v="3709" actId="1076"/>
          <ac:spMkLst>
            <pc:docMk/>
            <pc:sldMk cId="1587547754" sldId="2147469708"/>
            <ac:spMk id="26" creationId="{9D066943-F8FA-6964-F0A8-C70467B5722D}"/>
          </ac:spMkLst>
        </pc:spChg>
        <pc:spChg chg="add mod">
          <ac:chgData name="Anjali Jaisinghani" userId="cad40627-4d93-4324-b144-18a7e046d981" providerId="ADAL" clId="{33619D88-3F50-494B-83B9-988F8B17CC2F}" dt="2023-03-20T08:49:05.270" v="7725" actId="164"/>
          <ac:spMkLst>
            <pc:docMk/>
            <pc:sldMk cId="1587547754" sldId="2147469708"/>
            <ac:spMk id="27" creationId="{69CB607F-7216-60B6-EE72-5DC1D3D05D17}"/>
          </ac:spMkLst>
        </pc:spChg>
        <pc:spChg chg="add del mod">
          <ac:chgData name="Anjali Jaisinghani" userId="cad40627-4d93-4324-b144-18a7e046d981" providerId="ADAL" clId="{33619D88-3F50-494B-83B9-988F8B17CC2F}" dt="2023-03-17T10:44:11.722" v="2800" actId="478"/>
          <ac:spMkLst>
            <pc:docMk/>
            <pc:sldMk cId="1587547754" sldId="2147469708"/>
            <ac:spMk id="29" creationId="{081DC3AA-D87A-10CF-C5B4-99F50C6351B6}"/>
          </ac:spMkLst>
        </pc:spChg>
        <pc:spChg chg="add del mod">
          <ac:chgData name="Anjali Jaisinghani" userId="cad40627-4d93-4324-b144-18a7e046d981" providerId="ADAL" clId="{33619D88-3F50-494B-83B9-988F8B17CC2F}" dt="2023-03-17T10:39:05.790" v="2459" actId="478"/>
          <ac:spMkLst>
            <pc:docMk/>
            <pc:sldMk cId="1587547754" sldId="2147469708"/>
            <ac:spMk id="30" creationId="{4B435E2B-148B-82A9-8D6D-84ABA8C2B783}"/>
          </ac:spMkLst>
        </pc:spChg>
        <pc:spChg chg="add del mod">
          <ac:chgData name="Anjali Jaisinghani" userId="cad40627-4d93-4324-b144-18a7e046d981" providerId="ADAL" clId="{33619D88-3F50-494B-83B9-988F8B17CC2F}" dt="2023-03-17T10:45:08.344" v="2816" actId="478"/>
          <ac:spMkLst>
            <pc:docMk/>
            <pc:sldMk cId="1587547754" sldId="2147469708"/>
            <ac:spMk id="31" creationId="{508B321A-F793-0851-FAA8-45548AD41768}"/>
          </ac:spMkLst>
        </pc:spChg>
        <pc:spChg chg="add mod">
          <ac:chgData name="Anjali Jaisinghani" userId="cad40627-4d93-4324-b144-18a7e046d981" providerId="ADAL" clId="{33619D88-3F50-494B-83B9-988F8B17CC2F}" dt="2023-03-20T05:27:41.028" v="5532" actId="20577"/>
          <ac:spMkLst>
            <pc:docMk/>
            <pc:sldMk cId="1587547754" sldId="2147469708"/>
            <ac:spMk id="32" creationId="{B7E28A44-4143-9F96-55A4-A1F010846758}"/>
          </ac:spMkLst>
        </pc:spChg>
        <pc:spChg chg="add del mod">
          <ac:chgData name="Anjali Jaisinghani" userId="cad40627-4d93-4324-b144-18a7e046d981" providerId="ADAL" clId="{33619D88-3F50-494B-83B9-988F8B17CC2F}" dt="2023-03-17T10:55:06.302" v="3594" actId="478"/>
          <ac:spMkLst>
            <pc:docMk/>
            <pc:sldMk cId="1587547754" sldId="2147469708"/>
            <ac:spMk id="34" creationId="{B0F8BC36-49DA-0502-835B-13C373BAE7D7}"/>
          </ac:spMkLst>
        </pc:spChg>
        <pc:spChg chg="add mod">
          <ac:chgData name="Anjali Jaisinghani" userId="cad40627-4d93-4324-b144-18a7e046d981" providerId="ADAL" clId="{33619D88-3F50-494B-83B9-988F8B17CC2F}" dt="2023-03-20T08:45:51.896" v="7619" actId="14100"/>
          <ac:spMkLst>
            <pc:docMk/>
            <pc:sldMk cId="1587547754" sldId="2147469708"/>
            <ac:spMk id="35" creationId="{90D08AAD-A7F7-9CF1-CE69-7B0A5DE76CDF}"/>
          </ac:spMkLst>
        </pc:spChg>
        <pc:spChg chg="add mod">
          <ac:chgData name="Anjali Jaisinghani" userId="cad40627-4d93-4324-b144-18a7e046d981" providerId="ADAL" clId="{33619D88-3F50-494B-83B9-988F8B17CC2F}" dt="2023-03-17T10:33:47.163" v="2368" actId="208"/>
          <ac:spMkLst>
            <pc:docMk/>
            <pc:sldMk cId="1587547754" sldId="2147469708"/>
            <ac:spMk id="36" creationId="{96BFAED1-716A-2288-4810-68DFB308FEBA}"/>
          </ac:spMkLst>
        </pc:spChg>
        <pc:spChg chg="add mod">
          <ac:chgData name="Anjali Jaisinghani" userId="cad40627-4d93-4324-b144-18a7e046d981" providerId="ADAL" clId="{33619D88-3F50-494B-83B9-988F8B17CC2F}" dt="2023-03-17T10:55:13.250" v="3595" actId="14100"/>
          <ac:spMkLst>
            <pc:docMk/>
            <pc:sldMk cId="1587547754" sldId="2147469708"/>
            <ac:spMk id="37" creationId="{E3604CA3-22CE-28A4-52C3-CE37D6529855}"/>
          </ac:spMkLst>
        </pc:spChg>
        <pc:spChg chg="add mod">
          <ac:chgData name="Anjali Jaisinghani" userId="cad40627-4d93-4324-b144-18a7e046d981" providerId="ADAL" clId="{33619D88-3F50-494B-83B9-988F8B17CC2F}" dt="2023-03-20T08:49:05.270" v="7725" actId="164"/>
          <ac:spMkLst>
            <pc:docMk/>
            <pc:sldMk cId="1587547754" sldId="2147469708"/>
            <ac:spMk id="39" creationId="{CA790AA2-27B9-E59C-2675-8013AA94295B}"/>
          </ac:spMkLst>
        </pc:spChg>
        <pc:spChg chg="add mod">
          <ac:chgData name="Anjali Jaisinghani" userId="cad40627-4d93-4324-b144-18a7e046d981" providerId="ADAL" clId="{33619D88-3F50-494B-83B9-988F8B17CC2F}" dt="2023-03-17T10:55:17.542" v="3596" actId="1076"/>
          <ac:spMkLst>
            <pc:docMk/>
            <pc:sldMk cId="1587547754" sldId="2147469708"/>
            <ac:spMk id="40" creationId="{294DD0CF-CC57-6855-D1B8-000B6C7C5A3D}"/>
          </ac:spMkLst>
        </pc:spChg>
        <pc:spChg chg="add del mod">
          <ac:chgData name="Anjali Jaisinghani" userId="cad40627-4d93-4324-b144-18a7e046d981" providerId="ADAL" clId="{33619D88-3F50-494B-83B9-988F8B17CC2F}" dt="2023-03-20T08:48:41.905" v="7714" actId="478"/>
          <ac:spMkLst>
            <pc:docMk/>
            <pc:sldMk cId="1587547754" sldId="2147469708"/>
            <ac:spMk id="41" creationId="{2E754F06-12EF-B111-744F-4C7E5F052D5E}"/>
          </ac:spMkLst>
        </pc:spChg>
        <pc:spChg chg="add mod">
          <ac:chgData name="Anjali Jaisinghani" userId="cad40627-4d93-4324-b144-18a7e046d981" providerId="ADAL" clId="{33619D88-3F50-494B-83B9-988F8B17CC2F}" dt="2023-03-17T10:38:19.220" v="2402" actId="571"/>
          <ac:spMkLst>
            <pc:docMk/>
            <pc:sldMk cId="1587547754" sldId="2147469708"/>
            <ac:spMk id="41" creationId="{69A9DD52-8D3E-2053-9BD4-655592F5A38F}"/>
          </ac:spMkLst>
        </pc:spChg>
        <pc:spChg chg="add del mod">
          <ac:chgData name="Anjali Jaisinghani" userId="cad40627-4d93-4324-b144-18a7e046d981" providerId="ADAL" clId="{33619D88-3F50-494B-83B9-988F8B17CC2F}" dt="2023-03-20T08:48:41.935" v="7715" actId="478"/>
          <ac:spMkLst>
            <pc:docMk/>
            <pc:sldMk cId="1587547754" sldId="2147469708"/>
            <ac:spMk id="42" creationId="{E7598BC6-3FE0-EFB2-71EE-4DF006F2FD86}"/>
          </ac:spMkLst>
        </pc:spChg>
        <pc:spChg chg="add del mod">
          <ac:chgData name="Anjali Jaisinghani" userId="cad40627-4d93-4324-b144-18a7e046d981" providerId="ADAL" clId="{33619D88-3F50-494B-83B9-988F8B17CC2F}" dt="2023-03-20T08:49:05.270" v="7725" actId="164"/>
          <ac:spMkLst>
            <pc:docMk/>
            <pc:sldMk cId="1587547754" sldId="2147469708"/>
            <ac:spMk id="43" creationId="{9E3274BF-CEE9-DC6F-01D5-12DF675FCAC2}"/>
          </ac:spMkLst>
        </pc:spChg>
        <pc:spChg chg="add mod">
          <ac:chgData name="Anjali Jaisinghani" userId="cad40627-4d93-4324-b144-18a7e046d981" providerId="ADAL" clId="{33619D88-3F50-494B-83B9-988F8B17CC2F}" dt="2023-03-17T10:52:22.166" v="3319" actId="1076"/>
          <ac:spMkLst>
            <pc:docMk/>
            <pc:sldMk cId="1587547754" sldId="2147469708"/>
            <ac:spMk id="48" creationId="{D0479FCF-228E-A82B-1722-E21513C65133}"/>
          </ac:spMkLst>
        </pc:spChg>
        <pc:spChg chg="add mod">
          <ac:chgData name="Anjali Jaisinghani" userId="cad40627-4d93-4324-b144-18a7e046d981" providerId="ADAL" clId="{33619D88-3F50-494B-83B9-988F8B17CC2F}" dt="2023-03-17T10:47:15.079" v="2970" actId="14100"/>
          <ac:spMkLst>
            <pc:docMk/>
            <pc:sldMk cId="1587547754" sldId="2147469708"/>
            <ac:spMk id="49" creationId="{D590041E-246C-544D-D8E5-EA4C461C6443}"/>
          </ac:spMkLst>
        </pc:spChg>
        <pc:spChg chg="add mod">
          <ac:chgData name="Anjali Jaisinghani" userId="cad40627-4d93-4324-b144-18a7e046d981" providerId="ADAL" clId="{33619D88-3F50-494B-83B9-988F8B17CC2F}" dt="2023-03-20T08:49:43.347" v="7738" actId="1076"/>
          <ac:spMkLst>
            <pc:docMk/>
            <pc:sldMk cId="1587547754" sldId="2147469708"/>
            <ac:spMk id="56" creationId="{53EFAD99-2389-40FD-EA54-5FCD76E24FF4}"/>
          </ac:spMkLst>
        </pc:spChg>
        <pc:spChg chg="add del mod">
          <ac:chgData name="Anjali Jaisinghani" userId="cad40627-4d93-4324-b144-18a7e046d981" providerId="ADAL" clId="{33619D88-3F50-494B-83B9-988F8B17CC2F}" dt="2023-03-17T10:57:27.315" v="3707" actId="478"/>
          <ac:spMkLst>
            <pc:docMk/>
            <pc:sldMk cId="1587547754" sldId="2147469708"/>
            <ac:spMk id="62" creationId="{15E98470-F744-09C2-5C42-1CF44FBD08F4}"/>
          </ac:spMkLst>
        </pc:spChg>
        <pc:spChg chg="add del mod">
          <ac:chgData name="Anjali Jaisinghani" userId="cad40627-4d93-4324-b144-18a7e046d981" providerId="ADAL" clId="{33619D88-3F50-494B-83B9-988F8B17CC2F}" dt="2023-03-17T10:55:51.968" v="3602" actId="478"/>
          <ac:spMkLst>
            <pc:docMk/>
            <pc:sldMk cId="1587547754" sldId="2147469708"/>
            <ac:spMk id="7168" creationId="{E7A0F5A2-766F-92FB-C923-CE18EE641939}"/>
          </ac:spMkLst>
        </pc:spChg>
        <pc:grpChg chg="add del mod">
          <ac:chgData name="Anjali Jaisinghani" userId="cad40627-4d93-4324-b144-18a7e046d981" providerId="ADAL" clId="{33619D88-3F50-494B-83B9-988F8B17CC2F}" dt="2023-03-20T08:49:38.472" v="7737" actId="478"/>
          <ac:grpSpMkLst>
            <pc:docMk/>
            <pc:sldMk cId="1587547754" sldId="2147469708"/>
            <ac:grpSpMk id="55" creationId="{A0D3A698-24E0-51F2-3770-6A5E21109866}"/>
          </ac:grpSpMkLst>
        </pc:grpChg>
        <pc:picChg chg="del">
          <ac:chgData name="Anjali Jaisinghani" userId="cad40627-4d93-4324-b144-18a7e046d981" providerId="ADAL" clId="{33619D88-3F50-494B-83B9-988F8B17CC2F}" dt="2023-03-17T07:40:45.977" v="1018" actId="478"/>
          <ac:picMkLst>
            <pc:docMk/>
            <pc:sldMk cId="1587547754" sldId="2147469708"/>
            <ac:picMk id="8" creationId="{A66F2A6A-9D6F-85F3-0E8B-208B7B772373}"/>
          </ac:picMkLst>
        </pc:picChg>
        <pc:picChg chg="add del mod">
          <ac:chgData name="Anjali Jaisinghani" userId="cad40627-4d93-4324-b144-18a7e046d981" providerId="ADAL" clId="{33619D88-3F50-494B-83B9-988F8B17CC2F}" dt="2023-03-20T08:45:26.573" v="7614" actId="478"/>
          <ac:picMkLst>
            <pc:docMk/>
            <pc:sldMk cId="1587547754" sldId="2147469708"/>
            <ac:picMk id="11" creationId="{3C969D01-F4BE-2C27-3775-4983410BE033}"/>
          </ac:picMkLst>
        </pc:picChg>
        <pc:picChg chg="del">
          <ac:chgData name="Anjali Jaisinghani" userId="cad40627-4d93-4324-b144-18a7e046d981" providerId="ADAL" clId="{33619D88-3F50-494B-83B9-988F8B17CC2F}" dt="2023-03-17T07:40:45.155" v="1017" actId="478"/>
          <ac:picMkLst>
            <pc:docMk/>
            <pc:sldMk cId="1587547754" sldId="2147469708"/>
            <ac:picMk id="2050" creationId="{D7E2D329-018C-6D44-6075-7070F06E736F}"/>
          </ac:picMkLst>
        </pc:picChg>
        <pc:picChg chg="add del mod">
          <ac:chgData name="Anjali Jaisinghani" userId="cad40627-4d93-4324-b144-18a7e046d981" providerId="ADAL" clId="{33619D88-3F50-494B-83B9-988F8B17CC2F}" dt="2023-03-17T07:43:15.997" v="1048"/>
          <ac:picMkLst>
            <pc:docMk/>
            <pc:sldMk cId="1587547754" sldId="2147469708"/>
            <ac:picMk id="7170" creationId="{8AC4AF0D-882B-F83B-5762-FE86D785B34D}"/>
          </ac:picMkLst>
        </pc:picChg>
        <pc:cxnChg chg="add del mod">
          <ac:chgData name="Anjali Jaisinghani" userId="cad40627-4d93-4324-b144-18a7e046d981" providerId="ADAL" clId="{33619D88-3F50-494B-83B9-988F8B17CC2F}" dt="2023-03-20T08:45:28.386" v="7615" actId="478"/>
          <ac:cxnSpMkLst>
            <pc:docMk/>
            <pc:sldMk cId="1587547754" sldId="2147469708"/>
            <ac:cxnSpMk id="12" creationId="{282519E0-36C9-67BE-E848-95E811112B63}"/>
          </ac:cxnSpMkLst>
        </pc:cxnChg>
        <pc:cxnChg chg="add mod">
          <ac:chgData name="Anjali Jaisinghani" userId="cad40627-4d93-4324-b144-18a7e046d981" providerId="ADAL" clId="{33619D88-3F50-494B-83B9-988F8B17CC2F}" dt="2023-03-17T10:31:01.445" v="2358" actId="1076"/>
          <ac:cxnSpMkLst>
            <pc:docMk/>
            <pc:sldMk cId="1587547754" sldId="2147469708"/>
            <ac:cxnSpMk id="18" creationId="{E2B90F25-04D7-5EFD-B493-FCCE007F9DED}"/>
          </ac:cxnSpMkLst>
        </pc:cxnChg>
        <pc:cxnChg chg="add del mod">
          <ac:chgData name="Anjali Jaisinghani" userId="cad40627-4d93-4324-b144-18a7e046d981" providerId="ADAL" clId="{33619D88-3F50-494B-83B9-988F8B17CC2F}" dt="2023-03-20T08:45:30.331" v="7616" actId="478"/>
          <ac:cxnSpMkLst>
            <pc:docMk/>
            <pc:sldMk cId="1587547754" sldId="2147469708"/>
            <ac:cxnSpMk id="19" creationId="{4C565C7E-1E05-0AC3-F398-97FBCD7BD459}"/>
          </ac:cxnSpMkLst>
        </pc:cxnChg>
        <pc:cxnChg chg="add mod">
          <ac:chgData name="Anjali Jaisinghani" userId="cad40627-4d93-4324-b144-18a7e046d981" providerId="ADAL" clId="{33619D88-3F50-494B-83B9-988F8B17CC2F}" dt="2023-03-17T10:57:17.550" v="3706" actId="14100"/>
          <ac:cxnSpMkLst>
            <pc:docMk/>
            <pc:sldMk cId="1587547754" sldId="2147469708"/>
            <ac:cxnSpMk id="23" creationId="{6FB29603-628F-296B-0CA0-32D579B2F363}"/>
          </ac:cxnSpMkLst>
        </pc:cxnChg>
        <pc:cxnChg chg="add mod">
          <ac:chgData name="Anjali Jaisinghani" userId="cad40627-4d93-4324-b144-18a7e046d981" providerId="ADAL" clId="{33619D88-3F50-494B-83B9-988F8B17CC2F}" dt="2023-03-17T10:31:01.445" v="2358" actId="1076"/>
          <ac:cxnSpMkLst>
            <pc:docMk/>
            <pc:sldMk cId="1587547754" sldId="2147469708"/>
            <ac:cxnSpMk id="24" creationId="{8EDE1B53-69F8-98FF-1686-467E2180C9BD}"/>
          </ac:cxnSpMkLst>
        </pc:cxnChg>
        <pc:cxnChg chg="add mod">
          <ac:chgData name="Anjali Jaisinghani" userId="cad40627-4d93-4324-b144-18a7e046d981" providerId="ADAL" clId="{33619D88-3F50-494B-83B9-988F8B17CC2F}" dt="2023-03-20T08:49:46.688" v="7740" actId="14100"/>
          <ac:cxnSpMkLst>
            <pc:docMk/>
            <pc:sldMk cId="1587547754" sldId="2147469708"/>
            <ac:cxnSpMk id="28" creationId="{4C598E9C-6FC3-B9A5-3660-6A405674C2B8}"/>
          </ac:cxnSpMkLst>
        </pc:cxnChg>
        <pc:cxnChg chg="add mod">
          <ac:chgData name="Anjali Jaisinghani" userId="cad40627-4d93-4324-b144-18a7e046d981" providerId="ADAL" clId="{33619D88-3F50-494B-83B9-988F8B17CC2F}" dt="2023-03-17T10:49:35.793" v="3131" actId="14100"/>
          <ac:cxnSpMkLst>
            <pc:docMk/>
            <pc:sldMk cId="1587547754" sldId="2147469708"/>
            <ac:cxnSpMk id="33" creationId="{CC082053-A907-0BE1-B6B6-554343B1F305}"/>
          </ac:cxnSpMkLst>
        </pc:cxnChg>
      </pc:sldChg>
      <pc:sldChg chg="addSp delSp modSp add mod modShow">
        <pc:chgData name="Anjali Jaisinghani" userId="cad40627-4d93-4324-b144-18a7e046d981" providerId="ADAL" clId="{33619D88-3F50-494B-83B9-988F8B17CC2F}" dt="2023-03-17T10:57:54.625" v="3710" actId="729"/>
        <pc:sldMkLst>
          <pc:docMk/>
          <pc:sldMk cId="158830538" sldId="2147469709"/>
        </pc:sldMkLst>
        <pc:spChg chg="del">
          <ac:chgData name="Anjali Jaisinghani" userId="cad40627-4d93-4324-b144-18a7e046d981" providerId="ADAL" clId="{33619D88-3F50-494B-83B9-988F8B17CC2F}" dt="2023-03-17T07:43:55.004" v="1056" actId="478"/>
          <ac:spMkLst>
            <pc:docMk/>
            <pc:sldMk cId="158830538" sldId="2147469709"/>
            <ac:spMk id="3" creationId="{BEED6AB6-42E1-4286-B3E1-A19472D324C1}"/>
          </ac:spMkLst>
        </pc:spChg>
        <pc:spChg chg="del">
          <ac:chgData name="Anjali Jaisinghani" userId="cad40627-4d93-4324-b144-18a7e046d981" providerId="ADAL" clId="{33619D88-3F50-494B-83B9-988F8B17CC2F}" dt="2023-03-17T07:43:31.630" v="1051" actId="478"/>
          <ac:spMkLst>
            <pc:docMk/>
            <pc:sldMk cId="158830538" sldId="2147469709"/>
            <ac:spMk id="7" creationId="{91BAAC96-D4C7-AE6B-CAD1-D0F8B70CBD1C}"/>
          </ac:spMkLst>
        </pc:spChg>
        <pc:spChg chg="add del mod">
          <ac:chgData name="Anjali Jaisinghani" userId="cad40627-4d93-4324-b144-18a7e046d981" providerId="ADAL" clId="{33619D88-3F50-494B-83B9-988F8B17CC2F}" dt="2023-03-17T07:43:58.270" v="1057" actId="478"/>
          <ac:spMkLst>
            <pc:docMk/>
            <pc:sldMk cId="158830538" sldId="2147469709"/>
            <ac:spMk id="10" creationId="{64C4A330-E462-FA82-D838-F859228B936F}"/>
          </ac:spMkLst>
        </pc:spChg>
        <pc:picChg chg="add del mod">
          <ac:chgData name="Anjali Jaisinghani" userId="cad40627-4d93-4324-b144-18a7e046d981" providerId="ADAL" clId="{33619D88-3F50-494B-83B9-988F8B17CC2F}" dt="2023-03-17T07:43:45.372" v="1053" actId="478"/>
          <ac:picMkLst>
            <pc:docMk/>
            <pc:sldMk cId="158830538" sldId="2147469709"/>
            <ac:picMk id="8" creationId="{BB64FF34-F8CC-AC6E-4BDA-027ACB151FBA}"/>
          </ac:picMkLst>
        </pc:picChg>
        <pc:picChg chg="add mod">
          <ac:chgData name="Anjali Jaisinghani" userId="cad40627-4d93-4324-b144-18a7e046d981" providerId="ADAL" clId="{33619D88-3F50-494B-83B9-988F8B17CC2F}" dt="2023-03-17T07:44:04.877" v="1058" actId="1076"/>
          <ac:picMkLst>
            <pc:docMk/>
            <pc:sldMk cId="158830538" sldId="2147469709"/>
            <ac:picMk id="11266" creationId="{5BABEFF0-C74B-E8F9-FF51-7ADE11A4EDF5}"/>
          </ac:picMkLst>
        </pc:picChg>
      </pc:sldChg>
      <pc:sldChg chg="addSp delSp modSp add mod ord modNotesTx">
        <pc:chgData name="Anjali Jaisinghani" userId="cad40627-4d93-4324-b144-18a7e046d981" providerId="ADAL" clId="{33619D88-3F50-494B-83B9-988F8B17CC2F}" dt="2023-03-20T10:40:45.803" v="8705" actId="20577"/>
        <pc:sldMkLst>
          <pc:docMk/>
          <pc:sldMk cId="3848336103" sldId="2147469710"/>
        </pc:sldMkLst>
        <pc:spChg chg="add mod">
          <ac:chgData name="Anjali Jaisinghani" userId="cad40627-4d93-4324-b144-18a7e046d981" providerId="ADAL" clId="{33619D88-3F50-494B-83B9-988F8B17CC2F}" dt="2023-03-20T10:00:39.373" v="8320" actId="20577"/>
          <ac:spMkLst>
            <pc:docMk/>
            <pc:sldMk cId="3848336103" sldId="2147469710"/>
            <ac:spMk id="4" creationId="{4BF962F1-8655-3135-C505-63EF76B4E1DD}"/>
          </ac:spMkLst>
        </pc:spChg>
        <pc:spChg chg="add del mod">
          <ac:chgData name="Anjali Jaisinghani" userId="cad40627-4d93-4324-b144-18a7e046d981" providerId="ADAL" clId="{33619D88-3F50-494B-83B9-988F8B17CC2F}" dt="2023-03-20T05:14:59.637" v="5273" actId="478"/>
          <ac:spMkLst>
            <pc:docMk/>
            <pc:sldMk cId="3848336103" sldId="2147469710"/>
            <ac:spMk id="8" creationId="{ED863010-B20A-9DEE-9BD3-BB0349F925DE}"/>
          </ac:spMkLst>
        </pc:spChg>
        <pc:spChg chg="add mod">
          <ac:chgData name="Anjali Jaisinghani" userId="cad40627-4d93-4324-b144-18a7e046d981" providerId="ADAL" clId="{33619D88-3F50-494B-83B9-988F8B17CC2F}" dt="2023-03-20T07:20:02.456" v="6633"/>
          <ac:spMkLst>
            <pc:docMk/>
            <pc:sldMk cId="3848336103" sldId="2147469710"/>
            <ac:spMk id="10" creationId="{975613ED-85EE-379B-699C-D430DAA9ED28}"/>
          </ac:spMkLst>
        </pc:spChg>
        <pc:spChg chg="add mod">
          <ac:chgData name="Anjali Jaisinghani" userId="cad40627-4d93-4324-b144-18a7e046d981" providerId="ADAL" clId="{33619D88-3F50-494B-83B9-988F8B17CC2F}" dt="2023-03-20T10:40:05.987" v="8700" actId="20577"/>
          <ac:spMkLst>
            <pc:docMk/>
            <pc:sldMk cId="3848336103" sldId="2147469710"/>
            <ac:spMk id="24" creationId="{27DCC06E-7A43-D220-C451-E680C0B25A0F}"/>
          </ac:spMkLst>
        </pc:spChg>
        <pc:spChg chg="add mod">
          <ac:chgData name="Anjali Jaisinghani" userId="cad40627-4d93-4324-b144-18a7e046d981" providerId="ADAL" clId="{33619D88-3F50-494B-83B9-988F8B17CC2F}" dt="2023-03-20T10:40:10.275" v="8702" actId="20577"/>
          <ac:spMkLst>
            <pc:docMk/>
            <pc:sldMk cId="3848336103" sldId="2147469710"/>
            <ac:spMk id="25" creationId="{CE5FA971-7386-DA6B-D79E-A5888BAC3D55}"/>
          </ac:spMkLst>
        </pc:spChg>
        <pc:spChg chg="add mod">
          <ac:chgData name="Anjali Jaisinghani" userId="cad40627-4d93-4324-b144-18a7e046d981" providerId="ADAL" clId="{33619D88-3F50-494B-83B9-988F8B17CC2F}" dt="2023-03-20T10:40:45.803" v="8705" actId="20577"/>
          <ac:spMkLst>
            <pc:docMk/>
            <pc:sldMk cId="3848336103" sldId="2147469710"/>
            <ac:spMk id="26" creationId="{5176A6E6-CDD0-0D5D-03F7-805019785ECE}"/>
          </ac:spMkLst>
        </pc:spChg>
        <pc:spChg chg="add del mod">
          <ac:chgData name="Anjali Jaisinghani" userId="cad40627-4d93-4324-b144-18a7e046d981" providerId="ADAL" clId="{33619D88-3F50-494B-83B9-988F8B17CC2F}" dt="2023-03-20T05:18:27.367" v="5315" actId="478"/>
          <ac:spMkLst>
            <pc:docMk/>
            <pc:sldMk cId="3848336103" sldId="2147469710"/>
            <ac:spMk id="35" creationId="{83014B7B-F060-349A-2C3F-22CB1BA6C26F}"/>
          </ac:spMkLst>
        </pc:spChg>
        <pc:spChg chg="mod">
          <ac:chgData name="Anjali Jaisinghani" userId="cad40627-4d93-4324-b144-18a7e046d981" providerId="ADAL" clId="{33619D88-3F50-494B-83B9-988F8B17CC2F}" dt="2023-03-20T07:18:35.693" v="6578" actId="14100"/>
          <ac:spMkLst>
            <pc:docMk/>
            <pc:sldMk cId="3848336103" sldId="2147469710"/>
            <ac:spMk id="55" creationId="{51DB67D5-5EC2-74CC-990B-61A11474EEE3}"/>
          </ac:spMkLst>
        </pc:spChg>
        <pc:spChg chg="add del mod">
          <ac:chgData name="Anjali Jaisinghani" userId="cad40627-4d93-4324-b144-18a7e046d981" providerId="ADAL" clId="{33619D88-3F50-494B-83B9-988F8B17CC2F}" dt="2023-03-20T05:22:14.770" v="5364" actId="478"/>
          <ac:spMkLst>
            <pc:docMk/>
            <pc:sldMk cId="3848336103" sldId="2147469710"/>
            <ac:spMk id="88" creationId="{A101799D-B58B-5744-003E-AFBD19319234}"/>
          </ac:spMkLst>
        </pc:spChg>
        <pc:spChg chg="add mod">
          <ac:chgData name="Anjali Jaisinghani" userId="cad40627-4d93-4324-b144-18a7e046d981" providerId="ADAL" clId="{33619D88-3F50-494B-83B9-988F8B17CC2F}" dt="2023-03-20T05:18:51.068" v="5319" actId="1076"/>
          <ac:spMkLst>
            <pc:docMk/>
            <pc:sldMk cId="3848336103" sldId="2147469710"/>
            <ac:spMk id="90" creationId="{5DD752E6-FD08-45D1-3DB0-113B9FE5621F}"/>
          </ac:spMkLst>
        </pc:spChg>
        <pc:spChg chg="add mod">
          <ac:chgData name="Anjali Jaisinghani" userId="cad40627-4d93-4324-b144-18a7e046d981" providerId="ADAL" clId="{33619D88-3F50-494B-83B9-988F8B17CC2F}" dt="2023-03-20T09:59:38.048" v="8277" actId="20577"/>
          <ac:spMkLst>
            <pc:docMk/>
            <pc:sldMk cId="3848336103" sldId="2147469710"/>
            <ac:spMk id="91" creationId="{C807F93E-9687-7F66-77C1-CFDD89FBF8F0}"/>
          </ac:spMkLst>
        </pc:spChg>
        <pc:spChg chg="add mod">
          <ac:chgData name="Anjali Jaisinghani" userId="cad40627-4d93-4324-b144-18a7e046d981" providerId="ADAL" clId="{33619D88-3F50-494B-83B9-988F8B17CC2F}" dt="2023-03-20T07:20:37.600" v="6639" actId="1076"/>
          <ac:spMkLst>
            <pc:docMk/>
            <pc:sldMk cId="3848336103" sldId="2147469710"/>
            <ac:spMk id="101" creationId="{3EDFA45D-7ABE-E373-50BA-3FB0F41026DD}"/>
          </ac:spMkLst>
        </pc:spChg>
        <pc:spChg chg="add mod">
          <ac:chgData name="Anjali Jaisinghani" userId="cad40627-4d93-4324-b144-18a7e046d981" providerId="ADAL" clId="{33619D88-3F50-494B-83B9-988F8B17CC2F}" dt="2023-03-20T07:17:31.718" v="6532" actId="1076"/>
          <ac:spMkLst>
            <pc:docMk/>
            <pc:sldMk cId="3848336103" sldId="2147469710"/>
            <ac:spMk id="109" creationId="{D0EADDEB-E03D-4019-68B9-F09D02E1C07F}"/>
          </ac:spMkLst>
        </pc:spChg>
        <pc:spChg chg="add mod">
          <ac:chgData name="Anjali Jaisinghani" userId="cad40627-4d93-4324-b144-18a7e046d981" providerId="ADAL" clId="{33619D88-3F50-494B-83B9-988F8B17CC2F}" dt="2023-03-20T07:20:50.169" v="6640" actId="1076"/>
          <ac:spMkLst>
            <pc:docMk/>
            <pc:sldMk cId="3848336103" sldId="2147469710"/>
            <ac:spMk id="110" creationId="{8F2138CA-BB65-6E5A-F404-10CD16355148}"/>
          </ac:spMkLst>
        </pc:spChg>
        <pc:spChg chg="add mod">
          <ac:chgData name="Anjali Jaisinghani" userId="cad40627-4d93-4324-b144-18a7e046d981" providerId="ADAL" clId="{33619D88-3F50-494B-83B9-988F8B17CC2F}" dt="2023-03-20T07:19:01.438" v="6582" actId="1076"/>
          <ac:spMkLst>
            <pc:docMk/>
            <pc:sldMk cId="3848336103" sldId="2147469710"/>
            <ac:spMk id="127" creationId="{DC78A4C4-0CF8-CCB2-A79B-2AAE89FFFA99}"/>
          </ac:spMkLst>
        </pc:spChg>
        <pc:spChg chg="add mod">
          <ac:chgData name="Anjali Jaisinghani" userId="cad40627-4d93-4324-b144-18a7e046d981" providerId="ADAL" clId="{33619D88-3F50-494B-83B9-988F8B17CC2F}" dt="2023-03-20T05:27:43.783" v="5537" actId="1076"/>
          <ac:spMkLst>
            <pc:docMk/>
            <pc:sldMk cId="3848336103" sldId="2147469710"/>
            <ac:spMk id="129" creationId="{ADF7D2B6-59FE-E279-5B79-50CC760E8691}"/>
          </ac:spMkLst>
        </pc:spChg>
        <pc:spChg chg="add mod">
          <ac:chgData name="Anjali Jaisinghani" userId="cad40627-4d93-4324-b144-18a7e046d981" providerId="ADAL" clId="{33619D88-3F50-494B-83B9-988F8B17CC2F}" dt="2023-03-20T07:21:17.075" v="6645" actId="20577"/>
          <ac:spMkLst>
            <pc:docMk/>
            <pc:sldMk cId="3848336103" sldId="2147469710"/>
            <ac:spMk id="192" creationId="{6D30DEF9-2077-AFFD-21D8-3FAECA8A6184}"/>
          </ac:spMkLst>
        </pc:spChg>
        <pc:spChg chg="add mod">
          <ac:chgData name="Anjali Jaisinghani" userId="cad40627-4d93-4324-b144-18a7e046d981" providerId="ADAL" clId="{33619D88-3F50-494B-83B9-988F8B17CC2F}" dt="2023-03-20T05:16:48.765" v="5277" actId="14100"/>
          <ac:spMkLst>
            <pc:docMk/>
            <pc:sldMk cId="3848336103" sldId="2147469710"/>
            <ac:spMk id="194" creationId="{CDC846A7-75CE-767A-7D26-3CF7715E147D}"/>
          </ac:spMkLst>
        </pc:spChg>
        <pc:grpChg chg="add mod">
          <ac:chgData name="Anjali Jaisinghani" userId="cad40627-4d93-4324-b144-18a7e046d981" providerId="ADAL" clId="{33619D88-3F50-494B-83B9-988F8B17CC2F}" dt="2023-03-20T07:16:49.216" v="6523" actId="1076"/>
          <ac:grpSpMkLst>
            <pc:docMk/>
            <pc:sldMk cId="3848336103" sldId="2147469710"/>
            <ac:grpSpMk id="11" creationId="{1B847D12-51C8-C464-7E18-2F4CEFA50F5C}"/>
          </ac:grpSpMkLst>
        </pc:grpChg>
        <pc:grpChg chg="add mod">
          <ac:chgData name="Anjali Jaisinghani" userId="cad40627-4d93-4324-b144-18a7e046d981" providerId="ADAL" clId="{33619D88-3F50-494B-83B9-988F8B17CC2F}" dt="2023-03-20T05:21:56.468" v="5358" actId="1076"/>
          <ac:grpSpMkLst>
            <pc:docMk/>
            <pc:sldMk cId="3848336103" sldId="2147469710"/>
            <ac:grpSpMk id="53" creationId="{A1802E1A-F90C-BE67-560C-6CC53734288F}"/>
          </ac:grpSpMkLst>
        </pc:grpChg>
        <pc:picChg chg="del">
          <ac:chgData name="Anjali Jaisinghani" userId="cad40627-4d93-4324-b144-18a7e046d981" providerId="ADAL" clId="{33619D88-3F50-494B-83B9-988F8B17CC2F}" dt="2023-03-17T07:44:54.056" v="1064" actId="478"/>
          <ac:picMkLst>
            <pc:docMk/>
            <pc:sldMk cId="3848336103" sldId="2147469710"/>
            <ac:picMk id="7" creationId="{A8385362-65B4-A1C6-ADF9-2807D0585E9C}"/>
          </ac:picMkLst>
        </pc:picChg>
        <pc:picChg chg="add mod">
          <ac:chgData name="Anjali Jaisinghani" userId="cad40627-4d93-4324-b144-18a7e046d981" providerId="ADAL" clId="{33619D88-3F50-494B-83B9-988F8B17CC2F}" dt="2023-03-20T07:16:53.516" v="6524" actId="1076"/>
          <ac:picMkLst>
            <pc:docMk/>
            <pc:sldMk cId="3848336103" sldId="2147469710"/>
            <ac:picMk id="13" creationId="{A9049918-405D-C2E4-9B09-CE07ADEE502B}"/>
          </ac:picMkLst>
        </pc:picChg>
        <pc:picChg chg="mod">
          <ac:chgData name="Anjali Jaisinghani" userId="cad40627-4d93-4324-b144-18a7e046d981" providerId="ADAL" clId="{33619D88-3F50-494B-83B9-988F8B17CC2F}" dt="2023-03-20T07:18:43.684" v="6580" actId="1076"/>
          <ac:picMkLst>
            <pc:docMk/>
            <pc:sldMk cId="3848336103" sldId="2147469710"/>
            <ac:picMk id="54" creationId="{C0A2382C-2E0D-B67D-7392-35028B6B3BFD}"/>
          </ac:picMkLst>
        </pc:picChg>
        <pc:picChg chg="add del mod">
          <ac:chgData name="Anjali Jaisinghani" userId="cad40627-4d93-4324-b144-18a7e046d981" providerId="ADAL" clId="{33619D88-3F50-494B-83B9-988F8B17CC2F}" dt="2023-03-17T08:27:26.119" v="1951" actId="478"/>
          <ac:picMkLst>
            <pc:docMk/>
            <pc:sldMk cId="3848336103" sldId="2147469710"/>
            <ac:picMk id="122" creationId="{77F9A997-DF7A-9FDA-3A8C-13A10048F9F4}"/>
          </ac:picMkLst>
        </pc:picChg>
        <pc:cxnChg chg="add del mod">
          <ac:chgData name="Anjali Jaisinghani" userId="cad40627-4d93-4324-b144-18a7e046d981" providerId="ADAL" clId="{33619D88-3F50-494B-83B9-988F8B17CC2F}" dt="2023-03-17T08:02:10.137" v="1194" actId="478"/>
          <ac:cxnSpMkLst>
            <pc:docMk/>
            <pc:sldMk cId="3848336103" sldId="2147469710"/>
            <ac:cxnSpMk id="10" creationId="{32DB9C73-6CD7-D4D8-23A2-CFF7D709CC51}"/>
          </ac:cxnSpMkLst>
        </pc:cxnChg>
        <pc:cxnChg chg="add mod">
          <ac:chgData name="Anjali Jaisinghani" userId="cad40627-4d93-4324-b144-18a7e046d981" providerId="ADAL" clId="{33619D88-3F50-494B-83B9-988F8B17CC2F}" dt="2023-03-20T07:16:53.516" v="6524" actId="1076"/>
          <ac:cxnSpMkLst>
            <pc:docMk/>
            <pc:sldMk cId="3848336103" sldId="2147469710"/>
            <ac:cxnSpMk id="12" creationId="{9D4C147D-7405-FD82-7C9E-221ED35FEBFF}"/>
          </ac:cxnSpMkLst>
        </pc:cxnChg>
        <pc:cxnChg chg="add del mod">
          <ac:chgData name="Anjali Jaisinghani" userId="cad40627-4d93-4324-b144-18a7e046d981" providerId="ADAL" clId="{33619D88-3F50-494B-83B9-988F8B17CC2F}" dt="2023-03-20T05:15:01.685" v="5274" actId="478"/>
          <ac:cxnSpMkLst>
            <pc:docMk/>
            <pc:sldMk cId="3848336103" sldId="2147469710"/>
            <ac:cxnSpMk id="15" creationId="{A6B87AF3-2622-B714-247D-AAD3AEE8A702}"/>
          </ac:cxnSpMkLst>
        </pc:cxnChg>
        <pc:cxnChg chg="add mod">
          <ac:chgData name="Anjali Jaisinghani" userId="cad40627-4d93-4324-b144-18a7e046d981" providerId="ADAL" clId="{33619D88-3F50-494B-83B9-988F8B17CC2F}" dt="2023-03-20T07:16:53.516" v="6524" actId="1076"/>
          <ac:cxnSpMkLst>
            <pc:docMk/>
            <pc:sldMk cId="3848336103" sldId="2147469710"/>
            <ac:cxnSpMk id="17" creationId="{CCE9DEF4-C725-66C5-7AFF-25DA83A8F917}"/>
          </ac:cxnSpMkLst>
        </pc:cxnChg>
        <pc:cxnChg chg="add del mod">
          <ac:chgData name="Anjali Jaisinghani" userId="cad40627-4d93-4324-b144-18a7e046d981" providerId="ADAL" clId="{33619D88-3F50-494B-83B9-988F8B17CC2F}" dt="2023-03-17T08:02:21.550" v="1203" actId="478"/>
          <ac:cxnSpMkLst>
            <pc:docMk/>
            <pc:sldMk cId="3848336103" sldId="2147469710"/>
            <ac:cxnSpMk id="27" creationId="{4514C636-3D9C-0163-687C-DB411A53B37D}"/>
          </ac:cxnSpMkLst>
        </pc:cxnChg>
        <pc:cxnChg chg="add del mod">
          <ac:chgData name="Anjali Jaisinghani" userId="cad40627-4d93-4324-b144-18a7e046d981" providerId="ADAL" clId="{33619D88-3F50-494B-83B9-988F8B17CC2F}" dt="2023-03-17T08:02:12.461" v="1196" actId="478"/>
          <ac:cxnSpMkLst>
            <pc:docMk/>
            <pc:sldMk cId="3848336103" sldId="2147469710"/>
            <ac:cxnSpMk id="28" creationId="{E5B5B4F6-CC41-B375-2D5B-C42F9EC894F7}"/>
          </ac:cxnSpMkLst>
        </pc:cxnChg>
        <pc:cxnChg chg="add mod">
          <ac:chgData name="Anjali Jaisinghani" userId="cad40627-4d93-4324-b144-18a7e046d981" providerId="ADAL" clId="{33619D88-3F50-494B-83B9-988F8B17CC2F}" dt="2023-03-20T05:19:14.509" v="5324" actId="1076"/>
          <ac:cxnSpMkLst>
            <pc:docMk/>
            <pc:sldMk cId="3848336103" sldId="2147469710"/>
            <ac:cxnSpMk id="29" creationId="{4EF92AAF-C2F0-CB9E-14CB-C4BEB25529A5}"/>
          </ac:cxnSpMkLst>
        </pc:cxnChg>
        <pc:cxnChg chg="add del mod">
          <ac:chgData name="Anjali Jaisinghani" userId="cad40627-4d93-4324-b144-18a7e046d981" providerId="ADAL" clId="{33619D88-3F50-494B-83B9-988F8B17CC2F}" dt="2023-03-20T05:24:27.684" v="5436" actId="478"/>
          <ac:cxnSpMkLst>
            <pc:docMk/>
            <pc:sldMk cId="3848336103" sldId="2147469710"/>
            <ac:cxnSpMk id="61" creationId="{860004E1-1B83-9ED7-38A0-D91942B730F5}"/>
          </ac:cxnSpMkLst>
        </pc:cxnChg>
        <pc:cxnChg chg="add mod">
          <ac:chgData name="Anjali Jaisinghani" userId="cad40627-4d93-4324-b144-18a7e046d981" providerId="ADAL" clId="{33619D88-3F50-494B-83B9-988F8B17CC2F}" dt="2023-03-20T07:18:54.813" v="6581" actId="1076"/>
          <ac:cxnSpMkLst>
            <pc:docMk/>
            <pc:sldMk cId="3848336103" sldId="2147469710"/>
            <ac:cxnSpMk id="64" creationId="{9393659C-BB10-3B30-2E15-2E85F71CCC95}"/>
          </ac:cxnSpMkLst>
        </pc:cxnChg>
        <pc:cxnChg chg="add del mod">
          <ac:chgData name="Anjali Jaisinghani" userId="cad40627-4d93-4324-b144-18a7e046d981" providerId="ADAL" clId="{33619D88-3F50-494B-83B9-988F8B17CC2F}" dt="2023-03-20T05:15:03.618" v="5275" actId="478"/>
          <ac:cxnSpMkLst>
            <pc:docMk/>
            <pc:sldMk cId="3848336103" sldId="2147469710"/>
            <ac:cxnSpMk id="66" creationId="{88F00C00-BC84-8283-4205-90E31094F874}"/>
          </ac:cxnSpMkLst>
        </pc:cxnChg>
        <pc:cxnChg chg="add mod">
          <ac:chgData name="Anjali Jaisinghani" userId="cad40627-4d93-4324-b144-18a7e046d981" providerId="ADAL" clId="{33619D88-3F50-494B-83B9-988F8B17CC2F}" dt="2023-03-20T07:18:54.813" v="6581" actId="1076"/>
          <ac:cxnSpMkLst>
            <pc:docMk/>
            <pc:sldMk cId="3848336103" sldId="2147469710"/>
            <ac:cxnSpMk id="67" creationId="{37B9BB15-34DA-5AE2-F520-5B51BCA0EC2A}"/>
          </ac:cxnSpMkLst>
        </pc:cxnChg>
        <pc:cxnChg chg="add mod">
          <ac:chgData name="Anjali Jaisinghani" userId="cad40627-4d93-4324-b144-18a7e046d981" providerId="ADAL" clId="{33619D88-3F50-494B-83B9-988F8B17CC2F}" dt="2023-03-20T05:19:52.768" v="5332" actId="14100"/>
          <ac:cxnSpMkLst>
            <pc:docMk/>
            <pc:sldMk cId="3848336103" sldId="2147469710"/>
            <ac:cxnSpMk id="68" creationId="{1AD16219-5EFE-FD3A-BD6F-8AE9C1AEF06E}"/>
          </ac:cxnSpMkLst>
        </pc:cxnChg>
        <pc:cxnChg chg="add mod">
          <ac:chgData name="Anjali Jaisinghani" userId="cad40627-4d93-4324-b144-18a7e046d981" providerId="ADAL" clId="{33619D88-3F50-494B-83B9-988F8B17CC2F}" dt="2023-03-20T07:18:35.693" v="6578" actId="14100"/>
          <ac:cxnSpMkLst>
            <pc:docMk/>
            <pc:sldMk cId="3848336103" sldId="2147469710"/>
            <ac:cxnSpMk id="82" creationId="{DD0FFAA0-35BB-A3C7-C07D-DE753E70DE1A}"/>
          </ac:cxnSpMkLst>
        </pc:cxnChg>
        <pc:cxnChg chg="add mod">
          <ac:chgData name="Anjali Jaisinghani" userId="cad40627-4d93-4324-b144-18a7e046d981" providerId="ADAL" clId="{33619D88-3F50-494B-83B9-988F8B17CC2F}" dt="2023-03-20T07:17:27.495" v="6531" actId="1076"/>
          <ac:cxnSpMkLst>
            <pc:docMk/>
            <pc:sldMk cId="3848336103" sldId="2147469710"/>
            <ac:cxnSpMk id="92" creationId="{8439BEB2-46BB-0BB3-F45B-E88346D18226}"/>
          </ac:cxnSpMkLst>
        </pc:cxnChg>
        <pc:cxnChg chg="add del mod">
          <ac:chgData name="Anjali Jaisinghani" userId="cad40627-4d93-4324-b144-18a7e046d981" providerId="ADAL" clId="{33619D88-3F50-494B-83B9-988F8B17CC2F}" dt="2023-03-17T08:27:24.038" v="1950" actId="478"/>
          <ac:cxnSpMkLst>
            <pc:docMk/>
            <pc:sldMk cId="3848336103" sldId="2147469710"/>
            <ac:cxnSpMk id="123" creationId="{0EB1E4CD-4E92-748B-077F-42751B6D2E3F}"/>
          </ac:cxnSpMkLst>
        </pc:cxnChg>
        <pc:cxnChg chg="add del mod">
          <ac:chgData name="Anjali Jaisinghani" userId="cad40627-4d93-4324-b144-18a7e046d981" providerId="ADAL" clId="{33619D88-3F50-494B-83B9-988F8B17CC2F}" dt="2023-03-20T05:27:43.783" v="5537" actId="1076"/>
          <ac:cxnSpMkLst>
            <pc:docMk/>
            <pc:sldMk cId="3848336103" sldId="2147469710"/>
            <ac:cxnSpMk id="130" creationId="{7374747F-BFD7-7367-6FA8-E3CE5F96F08D}"/>
          </ac:cxnSpMkLst>
        </pc:cxnChg>
        <pc:cxnChg chg="add del mod">
          <ac:chgData name="Anjali Jaisinghani" userId="cad40627-4d93-4324-b144-18a7e046d981" providerId="ADAL" clId="{33619D88-3F50-494B-83B9-988F8B17CC2F}" dt="2023-03-17T08:28:43.542" v="1964" actId="478"/>
          <ac:cxnSpMkLst>
            <pc:docMk/>
            <pc:sldMk cId="3848336103" sldId="2147469710"/>
            <ac:cxnSpMk id="136" creationId="{DAF4BFCB-A9F5-BA2F-1E3B-D3EADFF8D334}"/>
          </ac:cxnSpMkLst>
        </pc:cxnChg>
        <pc:cxnChg chg="add del mod">
          <ac:chgData name="Anjali Jaisinghani" userId="cad40627-4d93-4324-b144-18a7e046d981" providerId="ADAL" clId="{33619D88-3F50-494B-83B9-988F8B17CC2F}" dt="2023-03-17T08:30:54.184" v="2084" actId="478"/>
          <ac:cxnSpMkLst>
            <pc:docMk/>
            <pc:sldMk cId="3848336103" sldId="2147469710"/>
            <ac:cxnSpMk id="146" creationId="{41F9F96F-821C-CD2F-58C6-F32B1C08C990}"/>
          </ac:cxnSpMkLst>
        </pc:cxnChg>
        <pc:cxnChg chg="add del mod">
          <ac:chgData name="Anjali Jaisinghani" userId="cad40627-4d93-4324-b144-18a7e046d981" providerId="ADAL" clId="{33619D88-3F50-494B-83B9-988F8B17CC2F}" dt="2023-03-17T08:41:39.674" v="2175" actId="478"/>
          <ac:cxnSpMkLst>
            <pc:docMk/>
            <pc:sldMk cId="3848336103" sldId="2147469710"/>
            <ac:cxnSpMk id="171" creationId="{DBCE3D14-A170-1564-EEC7-D53A3E999E6C}"/>
          </ac:cxnSpMkLst>
        </pc:cxnChg>
        <pc:cxnChg chg="add del mod">
          <ac:chgData name="Anjali Jaisinghani" userId="cad40627-4d93-4324-b144-18a7e046d981" providerId="ADAL" clId="{33619D88-3F50-494B-83B9-988F8B17CC2F}" dt="2023-03-17T08:43:55.234" v="2186" actId="478"/>
          <ac:cxnSpMkLst>
            <pc:docMk/>
            <pc:sldMk cId="3848336103" sldId="2147469710"/>
            <ac:cxnSpMk id="184" creationId="{DB5027D2-4321-111E-11C2-90AD304A14BE}"/>
          </ac:cxnSpMkLst>
        </pc:cxnChg>
        <pc:cxnChg chg="add del mod">
          <ac:chgData name="Anjali Jaisinghani" userId="cad40627-4d93-4324-b144-18a7e046d981" providerId="ADAL" clId="{33619D88-3F50-494B-83B9-988F8B17CC2F}" dt="2023-03-17T08:44:36.898" v="2192" actId="478"/>
          <ac:cxnSpMkLst>
            <pc:docMk/>
            <pc:sldMk cId="3848336103" sldId="2147469710"/>
            <ac:cxnSpMk id="187" creationId="{CF3E7B95-B44F-F5A2-6824-96454C4D496A}"/>
          </ac:cxnSpMkLst>
        </pc:cxnChg>
      </pc:sldChg>
      <pc:sldChg chg="modSp add del mod">
        <pc:chgData name="Anjali Jaisinghani" userId="cad40627-4d93-4324-b144-18a7e046d981" providerId="ADAL" clId="{33619D88-3F50-494B-83B9-988F8B17CC2F}" dt="2023-03-20T08:54:55.251" v="7776" actId="47"/>
        <pc:sldMkLst>
          <pc:docMk/>
          <pc:sldMk cId="2606548167" sldId="2147469711"/>
        </pc:sldMkLst>
        <pc:spChg chg="mod">
          <ac:chgData name="Anjali Jaisinghani" userId="cad40627-4d93-4324-b144-18a7e046d981" providerId="ADAL" clId="{33619D88-3F50-494B-83B9-988F8B17CC2F}" dt="2023-03-20T08:54:51.975" v="7775" actId="20577"/>
          <ac:spMkLst>
            <pc:docMk/>
            <pc:sldMk cId="2606548167" sldId="2147469711"/>
            <ac:spMk id="3" creationId="{BEED6AB6-42E1-4286-B3E1-A19472D324C1}"/>
          </ac:spMkLst>
        </pc:spChg>
      </pc:sldChg>
      <pc:sldChg chg="addSp delSp modSp add mod modNotesTx">
        <pc:chgData name="Anjali Jaisinghani" userId="cad40627-4d93-4324-b144-18a7e046d981" providerId="ADAL" clId="{33619D88-3F50-494B-83B9-988F8B17CC2F}" dt="2023-03-21T05:42:58.351" v="9766" actId="1076"/>
        <pc:sldMkLst>
          <pc:docMk/>
          <pc:sldMk cId="985525158" sldId="2147469712"/>
        </pc:sldMkLst>
        <pc:spChg chg="add mod">
          <ac:chgData name="Anjali Jaisinghani" userId="cad40627-4d93-4324-b144-18a7e046d981" providerId="ADAL" clId="{33619D88-3F50-494B-83B9-988F8B17CC2F}" dt="2023-03-21T05:13:10.211" v="9251" actId="14100"/>
          <ac:spMkLst>
            <pc:docMk/>
            <pc:sldMk cId="985525158" sldId="2147469712"/>
            <ac:spMk id="4" creationId="{8B97B069-4688-311B-3CB0-0B091D7F0F7D}"/>
          </ac:spMkLst>
        </pc:spChg>
        <pc:spChg chg="add mod">
          <ac:chgData name="Anjali Jaisinghani" userId="cad40627-4d93-4324-b144-18a7e046d981" providerId="ADAL" clId="{33619D88-3F50-494B-83B9-988F8B17CC2F}" dt="2023-03-21T05:13:24.966" v="9254" actId="14100"/>
          <ac:spMkLst>
            <pc:docMk/>
            <pc:sldMk cId="985525158" sldId="2147469712"/>
            <ac:spMk id="7" creationId="{0CCC6C6E-CDB4-2CD4-8265-B0327BA12DEF}"/>
          </ac:spMkLst>
        </pc:spChg>
        <pc:spChg chg="add mod">
          <ac:chgData name="Anjali Jaisinghani" userId="cad40627-4d93-4324-b144-18a7e046d981" providerId="ADAL" clId="{33619D88-3F50-494B-83B9-988F8B17CC2F}" dt="2023-03-20T10:02:39.768" v="8349" actId="1076"/>
          <ac:spMkLst>
            <pc:docMk/>
            <pc:sldMk cId="985525158" sldId="2147469712"/>
            <ac:spMk id="8" creationId="{7AD66CA9-966B-81EA-BD41-4E6C91FB7957}"/>
          </ac:spMkLst>
        </pc:spChg>
        <pc:spChg chg="mod">
          <ac:chgData name="Anjali Jaisinghani" userId="cad40627-4d93-4324-b144-18a7e046d981" providerId="ADAL" clId="{33619D88-3F50-494B-83B9-988F8B17CC2F}" dt="2023-03-20T10:01:05.696" v="8322"/>
          <ac:spMkLst>
            <pc:docMk/>
            <pc:sldMk cId="985525158" sldId="2147469712"/>
            <ac:spMk id="9" creationId="{EF01C3D8-DFA2-7BBA-8D2C-F4DAEDE5D49E}"/>
          </ac:spMkLst>
        </pc:spChg>
        <pc:spChg chg="del">
          <ac:chgData name="Anjali Jaisinghani" userId="cad40627-4d93-4324-b144-18a7e046d981" providerId="ADAL" clId="{33619D88-3F50-494B-83B9-988F8B17CC2F}" dt="2023-03-20T08:49:15.539" v="7730" actId="478"/>
          <ac:spMkLst>
            <pc:docMk/>
            <pc:sldMk cId="985525158" sldId="2147469712"/>
            <ac:spMk id="10" creationId="{5B4810D6-B88F-DD0C-910C-55C9AAD24343}"/>
          </ac:spMkLst>
        </pc:spChg>
        <pc:spChg chg="mod">
          <ac:chgData name="Anjali Jaisinghani" userId="cad40627-4d93-4324-b144-18a7e046d981" providerId="ADAL" clId="{33619D88-3F50-494B-83B9-988F8B17CC2F}" dt="2023-03-20T10:39:42.135" v="8687" actId="20577"/>
          <ac:spMkLst>
            <pc:docMk/>
            <pc:sldMk cId="985525158" sldId="2147469712"/>
            <ac:spMk id="15" creationId="{701D1454-2C8F-7EDD-E1E4-FD85116E8340}"/>
          </ac:spMkLst>
        </pc:spChg>
        <pc:spChg chg="mod">
          <ac:chgData name="Anjali Jaisinghani" userId="cad40627-4d93-4324-b144-18a7e046d981" providerId="ADAL" clId="{33619D88-3F50-494B-83B9-988F8B17CC2F}" dt="2023-03-20T09:04:34.324" v="7913" actId="242"/>
          <ac:spMkLst>
            <pc:docMk/>
            <pc:sldMk cId="985525158" sldId="2147469712"/>
            <ac:spMk id="16" creationId="{1C51F77B-097A-4333-3EE5-A1168A47373D}"/>
          </ac:spMkLst>
        </pc:spChg>
        <pc:spChg chg="mod">
          <ac:chgData name="Anjali Jaisinghani" userId="cad40627-4d93-4324-b144-18a7e046d981" providerId="ADAL" clId="{33619D88-3F50-494B-83B9-988F8B17CC2F}" dt="2023-03-21T05:14:05.608" v="9261" actId="1076"/>
          <ac:spMkLst>
            <pc:docMk/>
            <pc:sldMk cId="985525158" sldId="2147469712"/>
            <ac:spMk id="17" creationId="{E59F1463-2E24-4960-326F-F9D9D46554B5}"/>
          </ac:spMkLst>
        </pc:spChg>
        <pc:spChg chg="add mod">
          <ac:chgData name="Anjali Jaisinghani" userId="cad40627-4d93-4324-b144-18a7e046d981" providerId="ADAL" clId="{33619D88-3F50-494B-83B9-988F8B17CC2F}" dt="2023-03-20T10:02:32.920" v="8348" actId="14100"/>
          <ac:spMkLst>
            <pc:docMk/>
            <pc:sldMk cId="985525158" sldId="2147469712"/>
            <ac:spMk id="25" creationId="{28249EED-FA5B-45CA-C5C8-1B3FA69FF180}"/>
          </ac:spMkLst>
        </pc:spChg>
        <pc:spChg chg="mod">
          <ac:chgData name="Anjali Jaisinghani" userId="cad40627-4d93-4324-b144-18a7e046d981" providerId="ADAL" clId="{33619D88-3F50-494B-83B9-988F8B17CC2F}" dt="2023-03-20T08:59:37.621" v="7867" actId="1076"/>
          <ac:spMkLst>
            <pc:docMk/>
            <pc:sldMk cId="985525158" sldId="2147469712"/>
            <ac:spMk id="26" creationId="{9D066943-F8FA-6964-F0A8-C70467B5722D}"/>
          </ac:spMkLst>
        </pc:spChg>
        <pc:spChg chg="del">
          <ac:chgData name="Anjali Jaisinghani" userId="cad40627-4d93-4324-b144-18a7e046d981" providerId="ADAL" clId="{33619D88-3F50-494B-83B9-988F8B17CC2F}" dt="2023-03-20T08:49:33.917" v="7735" actId="21"/>
          <ac:spMkLst>
            <pc:docMk/>
            <pc:sldMk cId="985525158" sldId="2147469712"/>
            <ac:spMk id="27" creationId="{69CB607F-7216-60B6-EE72-5DC1D3D05D17}"/>
          </ac:spMkLst>
        </pc:spChg>
        <pc:spChg chg="add mod">
          <ac:chgData name="Anjali Jaisinghani" userId="cad40627-4d93-4324-b144-18a7e046d981" providerId="ADAL" clId="{33619D88-3F50-494B-83B9-988F8B17CC2F}" dt="2023-03-20T08:42:04.400" v="7567" actId="164"/>
          <ac:spMkLst>
            <pc:docMk/>
            <pc:sldMk cId="985525158" sldId="2147469712"/>
            <ac:spMk id="30" creationId="{04746D72-AC31-4A95-07BE-68FF61453C4F}"/>
          </ac:spMkLst>
        </pc:spChg>
        <pc:spChg chg="mod">
          <ac:chgData name="Anjali Jaisinghani" userId="cad40627-4d93-4324-b144-18a7e046d981" providerId="ADAL" clId="{33619D88-3F50-494B-83B9-988F8B17CC2F}" dt="2023-03-20T09:04:42.421" v="7917" actId="242"/>
          <ac:spMkLst>
            <pc:docMk/>
            <pc:sldMk cId="985525158" sldId="2147469712"/>
            <ac:spMk id="32" creationId="{B7E28A44-4143-9F96-55A4-A1F010846758}"/>
          </ac:spMkLst>
        </pc:spChg>
        <pc:spChg chg="add mod">
          <ac:chgData name="Anjali Jaisinghani" userId="cad40627-4d93-4324-b144-18a7e046d981" providerId="ADAL" clId="{33619D88-3F50-494B-83B9-988F8B17CC2F}" dt="2023-03-20T08:42:04.400" v="7567" actId="164"/>
          <ac:spMkLst>
            <pc:docMk/>
            <pc:sldMk cId="985525158" sldId="2147469712"/>
            <ac:spMk id="34" creationId="{715E9ACA-BC27-A4B2-43D3-2F1CC6828993}"/>
          </ac:spMkLst>
        </pc:spChg>
        <pc:spChg chg="mod">
          <ac:chgData name="Anjali Jaisinghani" userId="cad40627-4d93-4324-b144-18a7e046d981" providerId="ADAL" clId="{33619D88-3F50-494B-83B9-988F8B17CC2F}" dt="2023-03-21T05:17:57.168" v="9343" actId="14100"/>
          <ac:spMkLst>
            <pc:docMk/>
            <pc:sldMk cId="985525158" sldId="2147469712"/>
            <ac:spMk id="36" creationId="{96BFAED1-716A-2288-4810-68DFB308FEBA}"/>
          </ac:spMkLst>
        </pc:spChg>
        <pc:spChg chg="mod">
          <ac:chgData name="Anjali Jaisinghani" userId="cad40627-4d93-4324-b144-18a7e046d981" providerId="ADAL" clId="{33619D88-3F50-494B-83B9-988F8B17CC2F}" dt="2023-03-21T05:23:47.420" v="9480" actId="14100"/>
          <ac:spMkLst>
            <pc:docMk/>
            <pc:sldMk cId="985525158" sldId="2147469712"/>
            <ac:spMk id="37" creationId="{E3604CA3-22CE-28A4-52C3-CE37D6529855}"/>
          </ac:spMkLst>
        </pc:spChg>
        <pc:spChg chg="mod">
          <ac:chgData name="Anjali Jaisinghani" userId="cad40627-4d93-4324-b144-18a7e046d981" providerId="ADAL" clId="{33619D88-3F50-494B-83B9-988F8B17CC2F}" dt="2023-03-21T05:23:57.164" v="9481" actId="1076"/>
          <ac:spMkLst>
            <pc:docMk/>
            <pc:sldMk cId="985525158" sldId="2147469712"/>
            <ac:spMk id="40" creationId="{294DD0CF-CC57-6855-D1B8-000B6C7C5A3D}"/>
          </ac:spMkLst>
        </pc:spChg>
        <pc:spChg chg="add mod">
          <ac:chgData name="Anjali Jaisinghani" userId="cad40627-4d93-4324-b144-18a7e046d981" providerId="ADAL" clId="{33619D88-3F50-494B-83B9-988F8B17CC2F}" dt="2023-03-20T08:41:23.826" v="7557" actId="1076"/>
          <ac:spMkLst>
            <pc:docMk/>
            <pc:sldMk cId="985525158" sldId="2147469712"/>
            <ac:spMk id="43" creationId="{593EEC60-B978-A57B-8466-3FE31AAD0FDE}"/>
          </ac:spMkLst>
        </pc:spChg>
        <pc:spChg chg="add mod">
          <ac:chgData name="Anjali Jaisinghani" userId="cad40627-4d93-4324-b144-18a7e046d981" providerId="ADAL" clId="{33619D88-3F50-494B-83B9-988F8B17CC2F}" dt="2023-03-20T08:41:29.510" v="7558" actId="1076"/>
          <ac:spMkLst>
            <pc:docMk/>
            <pc:sldMk cId="985525158" sldId="2147469712"/>
            <ac:spMk id="44" creationId="{777A01E1-D858-9FFA-1173-9F8D2B79193F}"/>
          </ac:spMkLst>
        </pc:spChg>
        <pc:spChg chg="mod">
          <ac:chgData name="Anjali Jaisinghani" userId="cad40627-4d93-4324-b144-18a7e046d981" providerId="ADAL" clId="{33619D88-3F50-494B-83B9-988F8B17CC2F}" dt="2023-03-20T08:59:45.967" v="7868" actId="1076"/>
          <ac:spMkLst>
            <pc:docMk/>
            <pc:sldMk cId="985525158" sldId="2147469712"/>
            <ac:spMk id="48" creationId="{D0479FCF-228E-A82B-1722-E21513C65133}"/>
          </ac:spMkLst>
        </pc:spChg>
        <pc:spChg chg="mod">
          <ac:chgData name="Anjali Jaisinghani" userId="cad40627-4d93-4324-b144-18a7e046d981" providerId="ADAL" clId="{33619D88-3F50-494B-83B9-988F8B17CC2F}" dt="2023-03-21T05:18:02.694" v="9344" actId="1076"/>
          <ac:spMkLst>
            <pc:docMk/>
            <pc:sldMk cId="985525158" sldId="2147469712"/>
            <ac:spMk id="49" creationId="{D590041E-246C-544D-D8E5-EA4C461C6443}"/>
          </ac:spMkLst>
        </pc:spChg>
        <pc:spChg chg="add del mod">
          <ac:chgData name="Anjali Jaisinghani" userId="cad40627-4d93-4324-b144-18a7e046d981" providerId="ADAL" clId="{33619D88-3F50-494B-83B9-988F8B17CC2F}" dt="2023-03-20T08:48:52.800" v="7719"/>
          <ac:spMkLst>
            <pc:docMk/>
            <pc:sldMk cId="985525158" sldId="2147469712"/>
            <ac:spMk id="64" creationId="{F17FECE7-AAC4-C0CB-FA68-ACB89CF3A254}"/>
          </ac:spMkLst>
        </pc:spChg>
        <pc:spChg chg="add del mod">
          <ac:chgData name="Anjali Jaisinghani" userId="cad40627-4d93-4324-b144-18a7e046d981" providerId="ADAL" clId="{33619D88-3F50-494B-83B9-988F8B17CC2F}" dt="2023-03-20T08:49:12.243" v="7728" actId="478"/>
          <ac:spMkLst>
            <pc:docMk/>
            <pc:sldMk cId="985525158" sldId="2147469712"/>
            <ac:spMk id="65" creationId="{76FD550C-0800-F375-8E2C-2656463757F7}"/>
          </ac:spMkLst>
        </pc:spChg>
        <pc:spChg chg="mod">
          <ac:chgData name="Anjali Jaisinghani" userId="cad40627-4d93-4324-b144-18a7e046d981" providerId="ADAL" clId="{33619D88-3F50-494B-83B9-988F8B17CC2F}" dt="2023-03-20T10:03:42.398" v="8353" actId="1076"/>
          <ac:spMkLst>
            <pc:docMk/>
            <pc:sldMk cId="985525158" sldId="2147469712"/>
            <ac:spMk id="67" creationId="{AADA1DB0-DD5E-FFD5-6C20-47F1EA7CC35F}"/>
          </ac:spMkLst>
        </pc:spChg>
        <pc:spChg chg="mod">
          <ac:chgData name="Anjali Jaisinghani" userId="cad40627-4d93-4324-b144-18a7e046d981" providerId="ADAL" clId="{33619D88-3F50-494B-83B9-988F8B17CC2F}" dt="2023-03-20T08:49:12.786" v="7729"/>
          <ac:spMkLst>
            <pc:docMk/>
            <pc:sldMk cId="985525158" sldId="2147469712"/>
            <ac:spMk id="68" creationId="{0AA8B01A-4077-B82A-1952-82916CB0BD23}"/>
          </ac:spMkLst>
        </pc:spChg>
        <pc:spChg chg="mod">
          <ac:chgData name="Anjali Jaisinghani" userId="cad40627-4d93-4324-b144-18a7e046d981" providerId="ADAL" clId="{33619D88-3F50-494B-83B9-988F8B17CC2F}" dt="2023-03-20T08:55:16.963" v="7782" actId="20577"/>
          <ac:spMkLst>
            <pc:docMk/>
            <pc:sldMk cId="985525158" sldId="2147469712"/>
            <ac:spMk id="69" creationId="{194D59B3-1830-0254-AA45-BC7979C02514}"/>
          </ac:spMkLst>
        </pc:spChg>
        <pc:spChg chg="add mod">
          <ac:chgData name="Anjali Jaisinghani" userId="cad40627-4d93-4324-b144-18a7e046d981" providerId="ADAL" clId="{33619D88-3F50-494B-83B9-988F8B17CC2F}" dt="2023-03-21T05:16:28.527" v="9287" actId="14100"/>
          <ac:spMkLst>
            <pc:docMk/>
            <pc:sldMk cId="985525158" sldId="2147469712"/>
            <ac:spMk id="95" creationId="{091A3E93-A8AA-5449-707F-7C2F121C4B15}"/>
          </ac:spMkLst>
        </pc:spChg>
        <pc:spChg chg="add mod">
          <ac:chgData name="Anjali Jaisinghani" userId="cad40627-4d93-4324-b144-18a7e046d981" providerId="ADAL" clId="{33619D88-3F50-494B-83B9-988F8B17CC2F}" dt="2023-03-21T05:20:23.332" v="9397" actId="20577"/>
          <ac:spMkLst>
            <pc:docMk/>
            <pc:sldMk cId="985525158" sldId="2147469712"/>
            <ac:spMk id="96" creationId="{B253058A-5C3E-206F-B4E2-044D38468849}"/>
          </ac:spMkLst>
        </pc:spChg>
        <pc:spChg chg="add mod">
          <ac:chgData name="Anjali Jaisinghani" userId="cad40627-4d93-4324-b144-18a7e046d981" providerId="ADAL" clId="{33619D88-3F50-494B-83B9-988F8B17CC2F}" dt="2023-03-21T05:42:36.218" v="9765" actId="1076"/>
          <ac:spMkLst>
            <pc:docMk/>
            <pc:sldMk cId="985525158" sldId="2147469712"/>
            <ac:spMk id="97" creationId="{2D1C2D7B-F03F-9389-A71B-6FE414E9D05A}"/>
          </ac:spMkLst>
        </pc:spChg>
        <pc:spChg chg="add mod">
          <ac:chgData name="Anjali Jaisinghani" userId="cad40627-4d93-4324-b144-18a7e046d981" providerId="ADAL" clId="{33619D88-3F50-494B-83B9-988F8B17CC2F}" dt="2023-03-21T05:42:58.351" v="9766" actId="1076"/>
          <ac:spMkLst>
            <pc:docMk/>
            <pc:sldMk cId="985525158" sldId="2147469712"/>
            <ac:spMk id="98" creationId="{B4BD9F23-0ACF-BF58-1E98-A6CA9E3CEBF5}"/>
          </ac:spMkLst>
        </pc:spChg>
        <pc:spChg chg="add mod">
          <ac:chgData name="Anjali Jaisinghani" userId="cad40627-4d93-4324-b144-18a7e046d981" providerId="ADAL" clId="{33619D88-3F50-494B-83B9-988F8B17CC2F}" dt="2023-03-21T05:38:37.227" v="9725" actId="1036"/>
          <ac:spMkLst>
            <pc:docMk/>
            <pc:sldMk cId="985525158" sldId="2147469712"/>
            <ac:spMk id="99" creationId="{FF42A5BE-14A0-5823-43B9-CEA3D65D24CB}"/>
          </ac:spMkLst>
        </pc:spChg>
        <pc:grpChg chg="add mod">
          <ac:chgData name="Anjali Jaisinghani" userId="cad40627-4d93-4324-b144-18a7e046d981" providerId="ADAL" clId="{33619D88-3F50-494B-83B9-988F8B17CC2F}" dt="2023-03-20T08:42:12.828" v="7569" actId="1076"/>
          <ac:grpSpMkLst>
            <pc:docMk/>
            <pc:sldMk cId="985525158" sldId="2147469712"/>
            <ac:grpSpMk id="51" creationId="{E73AC6A1-3043-805E-CE8B-651682619D65}"/>
          </ac:grpSpMkLst>
        </pc:grpChg>
        <pc:grpChg chg="add mod">
          <ac:chgData name="Anjali Jaisinghani" userId="cad40627-4d93-4324-b144-18a7e046d981" providerId="ADAL" clId="{33619D88-3F50-494B-83B9-988F8B17CC2F}" dt="2023-03-20T08:49:12.786" v="7729"/>
          <ac:grpSpMkLst>
            <pc:docMk/>
            <pc:sldMk cId="985525158" sldId="2147469712"/>
            <ac:grpSpMk id="66" creationId="{EDE21777-B65A-5D19-2B0B-8BF7F33D55BD}"/>
          </ac:grpSpMkLst>
        </pc:grpChg>
        <pc:grpChg chg="add mod">
          <ac:chgData name="Anjali Jaisinghani" userId="cad40627-4d93-4324-b144-18a7e046d981" providerId="ADAL" clId="{33619D88-3F50-494B-83B9-988F8B17CC2F}" dt="2023-03-20T09:00:20.057" v="7874" actId="1076"/>
          <ac:grpSpMkLst>
            <pc:docMk/>
            <pc:sldMk cId="985525158" sldId="2147469712"/>
            <ac:grpSpMk id="76" creationId="{EC8DF277-0BF7-A393-68BE-EA02A385795F}"/>
          </ac:grpSpMkLst>
        </pc:grpChg>
        <pc:picChg chg="del">
          <ac:chgData name="Anjali Jaisinghani" userId="cad40627-4d93-4324-b144-18a7e046d981" providerId="ADAL" clId="{33619D88-3F50-494B-83B9-988F8B17CC2F}" dt="2023-03-20T08:49:55.203" v="7742" actId="478"/>
          <ac:picMkLst>
            <pc:docMk/>
            <pc:sldMk cId="985525158" sldId="2147469712"/>
            <ac:picMk id="11" creationId="{3C969D01-F4BE-2C27-3775-4983410BE033}"/>
          </ac:picMkLst>
        </pc:picChg>
        <pc:cxnChg chg="del mod">
          <ac:chgData name="Anjali Jaisinghani" userId="cad40627-4d93-4324-b144-18a7e046d981" providerId="ADAL" clId="{33619D88-3F50-494B-83B9-988F8B17CC2F}" dt="2023-03-20T08:49:53.740" v="7741" actId="478"/>
          <ac:cxnSpMkLst>
            <pc:docMk/>
            <pc:sldMk cId="985525158" sldId="2147469712"/>
            <ac:cxnSpMk id="12" creationId="{282519E0-36C9-67BE-E848-95E811112B63}"/>
          </ac:cxnSpMkLst>
        </pc:cxnChg>
        <pc:cxnChg chg="mod">
          <ac:chgData name="Anjali Jaisinghani" userId="cad40627-4d93-4324-b144-18a7e046d981" providerId="ADAL" clId="{33619D88-3F50-494B-83B9-988F8B17CC2F}" dt="2023-03-20T08:53:16.602" v="7768" actId="14100"/>
          <ac:cxnSpMkLst>
            <pc:docMk/>
            <pc:sldMk cId="985525158" sldId="2147469712"/>
            <ac:cxnSpMk id="18" creationId="{E2B90F25-04D7-5EFD-B493-FCCE007F9DED}"/>
          </ac:cxnSpMkLst>
        </pc:cxnChg>
        <pc:cxnChg chg="del mod">
          <ac:chgData name="Anjali Jaisinghani" userId="cad40627-4d93-4324-b144-18a7e046d981" providerId="ADAL" clId="{33619D88-3F50-494B-83B9-988F8B17CC2F}" dt="2023-03-20T08:49:17.494" v="7731" actId="478"/>
          <ac:cxnSpMkLst>
            <pc:docMk/>
            <pc:sldMk cId="985525158" sldId="2147469712"/>
            <ac:cxnSpMk id="19" creationId="{4C565C7E-1E05-0AC3-F398-97FBCD7BD459}"/>
          </ac:cxnSpMkLst>
        </pc:cxnChg>
        <pc:cxnChg chg="mod">
          <ac:chgData name="Anjali Jaisinghani" userId="cad40627-4d93-4324-b144-18a7e046d981" providerId="ADAL" clId="{33619D88-3F50-494B-83B9-988F8B17CC2F}" dt="2023-03-21T05:14:05.608" v="9261" actId="1076"/>
          <ac:cxnSpMkLst>
            <pc:docMk/>
            <pc:sldMk cId="985525158" sldId="2147469712"/>
            <ac:cxnSpMk id="23" creationId="{6FB29603-628F-296B-0CA0-32D579B2F363}"/>
          </ac:cxnSpMkLst>
        </pc:cxnChg>
        <pc:cxnChg chg="mod">
          <ac:chgData name="Anjali Jaisinghani" userId="cad40627-4d93-4324-b144-18a7e046d981" providerId="ADAL" clId="{33619D88-3F50-494B-83B9-988F8B17CC2F}" dt="2023-03-20T08:41:20.500" v="7556" actId="14100"/>
          <ac:cxnSpMkLst>
            <pc:docMk/>
            <pc:sldMk cId="985525158" sldId="2147469712"/>
            <ac:cxnSpMk id="24" creationId="{8EDE1B53-69F8-98FF-1686-467E2180C9BD}"/>
          </ac:cxnSpMkLst>
        </pc:cxnChg>
        <pc:cxnChg chg="mod">
          <ac:chgData name="Anjali Jaisinghani" userId="cad40627-4d93-4324-b144-18a7e046d981" providerId="ADAL" clId="{33619D88-3F50-494B-83B9-988F8B17CC2F}" dt="2023-03-20T10:03:42.398" v="8353" actId="1076"/>
          <ac:cxnSpMkLst>
            <pc:docMk/>
            <pc:sldMk cId="985525158" sldId="2147469712"/>
            <ac:cxnSpMk id="28" creationId="{4C598E9C-6FC3-B9A5-3660-6A405674C2B8}"/>
          </ac:cxnSpMkLst>
        </pc:cxnChg>
        <pc:cxnChg chg="mod">
          <ac:chgData name="Anjali Jaisinghani" userId="cad40627-4d93-4324-b144-18a7e046d981" providerId="ADAL" clId="{33619D88-3F50-494B-83B9-988F8B17CC2F}" dt="2023-03-20T09:00:20.057" v="7874" actId="1076"/>
          <ac:cxnSpMkLst>
            <pc:docMk/>
            <pc:sldMk cId="985525158" sldId="2147469712"/>
            <ac:cxnSpMk id="33" creationId="{CC082053-A907-0BE1-B6B6-554343B1F305}"/>
          </ac:cxnSpMkLst>
        </pc:cxnChg>
        <pc:cxnChg chg="add mod">
          <ac:chgData name="Anjali Jaisinghani" userId="cad40627-4d93-4324-b144-18a7e046d981" providerId="ADAL" clId="{33619D88-3F50-494B-83B9-988F8B17CC2F}" dt="2023-03-21T05:14:46.656" v="9262" actId="13822"/>
          <ac:cxnSpMkLst>
            <pc:docMk/>
            <pc:sldMk cId="985525158" sldId="2147469712"/>
            <ac:cxnSpMk id="90" creationId="{96AA9E27-4716-8BA5-A8C0-21A3814C9EB6}"/>
          </ac:cxnSpMkLst>
        </pc:cxnChg>
      </pc:sldChg>
      <pc:sldChg chg="addSp delSp modSp add mod modNotesTx">
        <pc:chgData name="Anjali Jaisinghani" userId="cad40627-4d93-4324-b144-18a7e046d981" providerId="ADAL" clId="{33619D88-3F50-494B-83B9-988F8B17CC2F}" dt="2023-03-21T05:51:30.049" v="9927" actId="20577"/>
        <pc:sldMkLst>
          <pc:docMk/>
          <pc:sldMk cId="2872002129" sldId="2147469713"/>
        </pc:sldMkLst>
        <pc:spChg chg="mod">
          <ac:chgData name="Anjali Jaisinghani" userId="cad40627-4d93-4324-b144-18a7e046d981" providerId="ADAL" clId="{33619D88-3F50-494B-83B9-988F8B17CC2F}" dt="2023-03-20T10:28:12.435" v="8672" actId="14100"/>
          <ac:spMkLst>
            <pc:docMk/>
            <pc:sldMk cId="2872002129" sldId="2147469713"/>
            <ac:spMk id="3" creationId="{BEED6AB6-42E1-4286-B3E1-A19472D324C1}"/>
          </ac:spMkLst>
        </pc:spChg>
        <pc:spChg chg="mod">
          <ac:chgData name="Anjali Jaisinghani" userId="cad40627-4d93-4324-b144-18a7e046d981" providerId="ADAL" clId="{33619D88-3F50-494B-83B9-988F8B17CC2F}" dt="2023-03-21T05:35:30.919" v="9716" actId="1076"/>
          <ac:spMkLst>
            <pc:docMk/>
            <pc:sldMk cId="2872002129" sldId="2147469713"/>
            <ac:spMk id="4" creationId="{8B97B069-4688-311B-3CB0-0B091D7F0F7D}"/>
          </ac:spMkLst>
        </pc:spChg>
        <pc:spChg chg="mod">
          <ac:chgData name="Anjali Jaisinghani" userId="cad40627-4d93-4324-b144-18a7e046d981" providerId="ADAL" clId="{33619D88-3F50-494B-83B9-988F8B17CC2F}" dt="2023-03-21T05:35:30.919" v="9716" actId="1076"/>
          <ac:spMkLst>
            <pc:docMk/>
            <pc:sldMk cId="2872002129" sldId="2147469713"/>
            <ac:spMk id="7" creationId="{0CCC6C6E-CDB4-2CD4-8265-B0327BA12DEF}"/>
          </ac:spMkLst>
        </pc:spChg>
        <pc:spChg chg="mod">
          <ac:chgData name="Anjali Jaisinghani" userId="cad40627-4d93-4324-b144-18a7e046d981" providerId="ADAL" clId="{33619D88-3F50-494B-83B9-988F8B17CC2F}" dt="2023-03-20T10:04:49.377" v="8366" actId="20577"/>
          <ac:spMkLst>
            <pc:docMk/>
            <pc:sldMk cId="2872002129" sldId="2147469713"/>
            <ac:spMk id="8" creationId="{7AD66CA9-966B-81EA-BD41-4E6C91FB7957}"/>
          </ac:spMkLst>
        </pc:spChg>
        <pc:spChg chg="mod">
          <ac:chgData name="Anjali Jaisinghani" userId="cad40627-4d93-4324-b144-18a7e046d981" providerId="ADAL" clId="{33619D88-3F50-494B-83B9-988F8B17CC2F}" dt="2023-03-21T05:31:32.428" v="9654" actId="20577"/>
          <ac:spMkLst>
            <pc:docMk/>
            <pc:sldMk cId="2872002129" sldId="2147469713"/>
            <ac:spMk id="9" creationId="{EF01C3D8-DFA2-7BBA-8D2C-F4DAEDE5D49E}"/>
          </ac:spMkLst>
        </pc:spChg>
        <pc:spChg chg="add mod">
          <ac:chgData name="Anjali Jaisinghani" userId="cad40627-4d93-4324-b144-18a7e046d981" providerId="ADAL" clId="{33619D88-3F50-494B-83B9-988F8B17CC2F}" dt="2023-03-20T08:57:28.362" v="7849" actId="1076"/>
          <ac:spMkLst>
            <pc:docMk/>
            <pc:sldMk cId="2872002129" sldId="2147469713"/>
            <ac:spMk id="11" creationId="{E2E57C9D-AF09-FB85-DA75-DDDFAAD7299F}"/>
          </ac:spMkLst>
        </pc:spChg>
        <pc:spChg chg="mod">
          <ac:chgData name="Anjali Jaisinghani" userId="cad40627-4d93-4324-b144-18a7e046d981" providerId="ADAL" clId="{33619D88-3F50-494B-83B9-988F8B17CC2F}" dt="2023-03-20T11:32:36.496" v="9083" actId="20577"/>
          <ac:spMkLst>
            <pc:docMk/>
            <pc:sldMk cId="2872002129" sldId="2147469713"/>
            <ac:spMk id="15" creationId="{701D1454-2C8F-7EDD-E1E4-FD85116E8340}"/>
          </ac:spMkLst>
        </pc:spChg>
        <pc:spChg chg="mod">
          <ac:chgData name="Anjali Jaisinghani" userId="cad40627-4d93-4324-b144-18a7e046d981" providerId="ADAL" clId="{33619D88-3F50-494B-83B9-988F8B17CC2F}" dt="2023-03-20T09:04:13.578" v="7905" actId="242"/>
          <ac:spMkLst>
            <pc:docMk/>
            <pc:sldMk cId="2872002129" sldId="2147469713"/>
            <ac:spMk id="16" creationId="{1C51F77B-097A-4333-3EE5-A1168A47373D}"/>
          </ac:spMkLst>
        </pc:spChg>
        <pc:spChg chg="mod">
          <ac:chgData name="Anjali Jaisinghani" userId="cad40627-4d93-4324-b144-18a7e046d981" providerId="ADAL" clId="{33619D88-3F50-494B-83B9-988F8B17CC2F}" dt="2023-03-21T05:35:30.919" v="9716" actId="1076"/>
          <ac:spMkLst>
            <pc:docMk/>
            <pc:sldMk cId="2872002129" sldId="2147469713"/>
            <ac:spMk id="17" creationId="{E59F1463-2E24-4960-326F-F9D9D46554B5}"/>
          </ac:spMkLst>
        </pc:spChg>
        <pc:spChg chg="mod">
          <ac:chgData name="Anjali Jaisinghani" userId="cad40627-4d93-4324-b144-18a7e046d981" providerId="ADAL" clId="{33619D88-3F50-494B-83B9-988F8B17CC2F}" dt="2023-03-20T10:04:59.631" v="8374" actId="20577"/>
          <ac:spMkLst>
            <pc:docMk/>
            <pc:sldMk cId="2872002129" sldId="2147469713"/>
            <ac:spMk id="25" creationId="{28249EED-FA5B-45CA-C5C8-1B3FA69FF180}"/>
          </ac:spMkLst>
        </pc:spChg>
        <pc:spChg chg="mod">
          <ac:chgData name="Anjali Jaisinghani" userId="cad40627-4d93-4324-b144-18a7e046d981" providerId="ADAL" clId="{33619D88-3F50-494B-83B9-988F8B17CC2F}" dt="2023-03-20T09:49:20.655" v="8213" actId="1076"/>
          <ac:spMkLst>
            <pc:docMk/>
            <pc:sldMk cId="2872002129" sldId="2147469713"/>
            <ac:spMk id="26" creationId="{9D066943-F8FA-6964-F0A8-C70467B5722D}"/>
          </ac:spMkLst>
        </pc:spChg>
        <pc:spChg chg="mod">
          <ac:chgData name="Anjali Jaisinghani" userId="cad40627-4d93-4324-b144-18a7e046d981" providerId="ADAL" clId="{33619D88-3F50-494B-83B9-988F8B17CC2F}" dt="2023-03-20T10:29:20.901" v="8680" actId="113"/>
          <ac:spMkLst>
            <pc:docMk/>
            <pc:sldMk cId="2872002129" sldId="2147469713"/>
            <ac:spMk id="30" creationId="{04746D72-AC31-4A95-07BE-68FF61453C4F}"/>
          </ac:spMkLst>
        </pc:spChg>
        <pc:spChg chg="mod">
          <ac:chgData name="Anjali Jaisinghani" userId="cad40627-4d93-4324-b144-18a7e046d981" providerId="ADAL" clId="{33619D88-3F50-494B-83B9-988F8B17CC2F}" dt="2023-03-21T05:39:22.475" v="9758" actId="1076"/>
          <ac:spMkLst>
            <pc:docMk/>
            <pc:sldMk cId="2872002129" sldId="2147469713"/>
            <ac:spMk id="32" creationId="{B7E28A44-4143-9F96-55A4-A1F010846758}"/>
          </ac:spMkLst>
        </pc:spChg>
        <pc:spChg chg="mod">
          <ac:chgData name="Anjali Jaisinghani" userId="cad40627-4d93-4324-b144-18a7e046d981" providerId="ADAL" clId="{33619D88-3F50-494B-83B9-988F8B17CC2F}" dt="2023-03-20T10:28:39.349" v="8678" actId="1076"/>
          <ac:spMkLst>
            <pc:docMk/>
            <pc:sldMk cId="2872002129" sldId="2147469713"/>
            <ac:spMk id="34" creationId="{715E9ACA-BC27-A4B2-43D3-2F1CC6828993}"/>
          </ac:spMkLst>
        </pc:spChg>
        <pc:spChg chg="mod">
          <ac:chgData name="Anjali Jaisinghani" userId="cad40627-4d93-4324-b144-18a7e046d981" providerId="ADAL" clId="{33619D88-3F50-494B-83B9-988F8B17CC2F}" dt="2023-03-20T09:35:58" v="7928" actId="1076"/>
          <ac:spMkLst>
            <pc:docMk/>
            <pc:sldMk cId="2872002129" sldId="2147469713"/>
            <ac:spMk id="35" creationId="{90D08AAD-A7F7-9CF1-CE69-7B0A5DE76CDF}"/>
          </ac:spMkLst>
        </pc:spChg>
        <pc:spChg chg="mod">
          <ac:chgData name="Anjali Jaisinghani" userId="cad40627-4d93-4324-b144-18a7e046d981" providerId="ADAL" clId="{33619D88-3F50-494B-83B9-988F8B17CC2F}" dt="2023-03-20T09:36:03.041" v="7929" actId="14100"/>
          <ac:spMkLst>
            <pc:docMk/>
            <pc:sldMk cId="2872002129" sldId="2147469713"/>
            <ac:spMk id="36" creationId="{96BFAED1-716A-2288-4810-68DFB308FEBA}"/>
          </ac:spMkLst>
        </pc:spChg>
        <pc:spChg chg="mod">
          <ac:chgData name="Anjali Jaisinghani" userId="cad40627-4d93-4324-b144-18a7e046d981" providerId="ADAL" clId="{33619D88-3F50-494B-83B9-988F8B17CC2F}" dt="2023-03-21T05:35:37.886" v="9717" actId="14100"/>
          <ac:spMkLst>
            <pc:docMk/>
            <pc:sldMk cId="2872002129" sldId="2147469713"/>
            <ac:spMk id="37" creationId="{E3604CA3-22CE-28A4-52C3-CE37D6529855}"/>
          </ac:spMkLst>
        </pc:spChg>
        <pc:spChg chg="mod">
          <ac:chgData name="Anjali Jaisinghani" userId="cad40627-4d93-4324-b144-18a7e046d981" providerId="ADAL" clId="{33619D88-3F50-494B-83B9-988F8B17CC2F}" dt="2023-03-20T08:58:21.866" v="7858" actId="1076"/>
          <ac:spMkLst>
            <pc:docMk/>
            <pc:sldMk cId="2872002129" sldId="2147469713"/>
            <ac:spMk id="40" creationId="{294DD0CF-CC57-6855-D1B8-000B6C7C5A3D}"/>
          </ac:spMkLst>
        </pc:spChg>
        <pc:spChg chg="mod">
          <ac:chgData name="Anjali Jaisinghani" userId="cad40627-4d93-4324-b144-18a7e046d981" providerId="ADAL" clId="{33619D88-3F50-494B-83B9-988F8B17CC2F}" dt="2023-03-20T10:42:57.539" v="8707" actId="1076"/>
          <ac:spMkLst>
            <pc:docMk/>
            <pc:sldMk cId="2872002129" sldId="2147469713"/>
            <ac:spMk id="43" creationId="{593EEC60-B978-A57B-8466-3FE31AAD0FDE}"/>
          </ac:spMkLst>
        </pc:spChg>
        <pc:spChg chg="mod">
          <ac:chgData name="Anjali Jaisinghani" userId="cad40627-4d93-4324-b144-18a7e046d981" providerId="ADAL" clId="{33619D88-3F50-494B-83B9-988F8B17CC2F}" dt="2023-03-20T10:42:57.539" v="8707" actId="1076"/>
          <ac:spMkLst>
            <pc:docMk/>
            <pc:sldMk cId="2872002129" sldId="2147469713"/>
            <ac:spMk id="44" creationId="{777A01E1-D858-9FFA-1173-9F8D2B79193F}"/>
          </ac:spMkLst>
        </pc:spChg>
        <pc:spChg chg="mod">
          <ac:chgData name="Anjali Jaisinghani" userId="cad40627-4d93-4324-b144-18a7e046d981" providerId="ADAL" clId="{33619D88-3F50-494B-83B9-988F8B17CC2F}" dt="2023-03-20T09:49:13.186" v="8212" actId="1076"/>
          <ac:spMkLst>
            <pc:docMk/>
            <pc:sldMk cId="2872002129" sldId="2147469713"/>
            <ac:spMk id="48" creationId="{D0479FCF-228E-A82B-1722-E21513C65133}"/>
          </ac:spMkLst>
        </pc:spChg>
        <pc:spChg chg="mod">
          <ac:chgData name="Anjali Jaisinghani" userId="cad40627-4d93-4324-b144-18a7e046d981" providerId="ADAL" clId="{33619D88-3F50-494B-83B9-988F8B17CC2F}" dt="2023-03-20T09:02:26.480" v="7886" actId="1076"/>
          <ac:spMkLst>
            <pc:docMk/>
            <pc:sldMk cId="2872002129" sldId="2147469713"/>
            <ac:spMk id="49" creationId="{D590041E-246C-544D-D8E5-EA4C461C6443}"/>
          </ac:spMkLst>
        </pc:spChg>
        <pc:spChg chg="add mod">
          <ac:chgData name="Anjali Jaisinghani" userId="cad40627-4d93-4324-b144-18a7e046d981" providerId="ADAL" clId="{33619D88-3F50-494B-83B9-988F8B17CC2F}" dt="2023-03-21T05:35:30.919" v="9716" actId="1076"/>
          <ac:spMkLst>
            <pc:docMk/>
            <pc:sldMk cId="2872002129" sldId="2147469713"/>
            <ac:spMk id="58" creationId="{5E2819F6-2A2B-A221-9D6B-94040C0AB4EA}"/>
          </ac:spMkLst>
        </pc:spChg>
        <pc:spChg chg="add mod">
          <ac:chgData name="Anjali Jaisinghani" userId="cad40627-4d93-4324-b144-18a7e046d981" providerId="ADAL" clId="{33619D88-3F50-494B-83B9-988F8B17CC2F}" dt="2023-03-21T05:35:30.919" v="9716" actId="1076"/>
          <ac:spMkLst>
            <pc:docMk/>
            <pc:sldMk cId="2872002129" sldId="2147469713"/>
            <ac:spMk id="60" creationId="{E612CF2F-34A9-7B9C-83A2-4AB5330297D8}"/>
          </ac:spMkLst>
        </pc:spChg>
        <pc:spChg chg="add mod">
          <ac:chgData name="Anjali Jaisinghani" userId="cad40627-4d93-4324-b144-18a7e046d981" providerId="ADAL" clId="{33619D88-3F50-494B-83B9-988F8B17CC2F}" dt="2023-03-21T05:35:30.919" v="9716" actId="1076"/>
          <ac:spMkLst>
            <pc:docMk/>
            <pc:sldMk cId="2872002129" sldId="2147469713"/>
            <ac:spMk id="65" creationId="{3B4A0638-A725-F0AD-FDB2-CB5B4D245BD4}"/>
          </ac:spMkLst>
        </pc:spChg>
        <pc:spChg chg="mod">
          <ac:chgData name="Anjali Jaisinghani" userId="cad40627-4d93-4324-b144-18a7e046d981" providerId="ADAL" clId="{33619D88-3F50-494B-83B9-988F8B17CC2F}" dt="2023-03-20T10:28:03.972" v="8671" actId="242"/>
          <ac:spMkLst>
            <pc:docMk/>
            <pc:sldMk cId="2872002129" sldId="2147469713"/>
            <ac:spMk id="67" creationId="{AADA1DB0-DD5E-FFD5-6C20-47F1EA7CC35F}"/>
          </ac:spMkLst>
        </pc:spChg>
        <pc:spChg chg="mod">
          <ac:chgData name="Anjali Jaisinghani" userId="cad40627-4d93-4324-b144-18a7e046d981" providerId="ADAL" clId="{33619D88-3F50-494B-83B9-988F8B17CC2F}" dt="2023-03-20T08:56:47.357" v="7831" actId="14100"/>
          <ac:spMkLst>
            <pc:docMk/>
            <pc:sldMk cId="2872002129" sldId="2147469713"/>
            <ac:spMk id="68" creationId="{0AA8B01A-4077-B82A-1952-82916CB0BD23}"/>
          </ac:spMkLst>
        </pc:spChg>
        <pc:spChg chg="mod">
          <ac:chgData name="Anjali Jaisinghani" userId="cad40627-4d93-4324-b144-18a7e046d981" providerId="ADAL" clId="{33619D88-3F50-494B-83B9-988F8B17CC2F}" dt="2023-03-20T08:58:00.198" v="7854" actId="1076"/>
          <ac:spMkLst>
            <pc:docMk/>
            <pc:sldMk cId="2872002129" sldId="2147469713"/>
            <ac:spMk id="69" creationId="{194D59B3-1830-0254-AA45-BC7979C02514}"/>
          </ac:spMkLst>
        </pc:spChg>
        <pc:spChg chg="add mod">
          <ac:chgData name="Anjali Jaisinghani" userId="cad40627-4d93-4324-b144-18a7e046d981" providerId="ADAL" clId="{33619D88-3F50-494B-83B9-988F8B17CC2F}" dt="2023-03-21T05:35:30.919" v="9716" actId="1076"/>
          <ac:spMkLst>
            <pc:docMk/>
            <pc:sldMk cId="2872002129" sldId="2147469713"/>
            <ac:spMk id="70" creationId="{FEE7C0CE-80B8-16CF-875B-F97757355653}"/>
          </ac:spMkLst>
        </pc:spChg>
        <pc:spChg chg="add mod">
          <ac:chgData name="Anjali Jaisinghani" userId="cad40627-4d93-4324-b144-18a7e046d981" providerId="ADAL" clId="{33619D88-3F50-494B-83B9-988F8B17CC2F}" dt="2023-03-21T05:35:30.919" v="9716" actId="1076"/>
          <ac:spMkLst>
            <pc:docMk/>
            <pc:sldMk cId="2872002129" sldId="2147469713"/>
            <ac:spMk id="71" creationId="{1CC66878-B8A6-DFED-E507-2C239B5AD526}"/>
          </ac:spMkLst>
        </pc:spChg>
        <pc:spChg chg="add mod">
          <ac:chgData name="Anjali Jaisinghani" userId="cad40627-4d93-4324-b144-18a7e046d981" providerId="ADAL" clId="{33619D88-3F50-494B-83B9-988F8B17CC2F}" dt="2023-03-21T05:35:30.919" v="9716" actId="1076"/>
          <ac:spMkLst>
            <pc:docMk/>
            <pc:sldMk cId="2872002129" sldId="2147469713"/>
            <ac:spMk id="72" creationId="{DD552DE7-9252-B6E3-B50F-BF983C85A1BC}"/>
          </ac:spMkLst>
        </pc:spChg>
        <pc:spChg chg="add mod">
          <ac:chgData name="Anjali Jaisinghani" userId="cad40627-4d93-4324-b144-18a7e046d981" providerId="ADAL" clId="{33619D88-3F50-494B-83B9-988F8B17CC2F}" dt="2023-03-21T05:35:30.919" v="9716" actId="1076"/>
          <ac:spMkLst>
            <pc:docMk/>
            <pc:sldMk cId="2872002129" sldId="2147469713"/>
            <ac:spMk id="73" creationId="{ACF7BACE-EDFD-1114-7E3B-A77F3C022824}"/>
          </ac:spMkLst>
        </pc:spChg>
        <pc:spChg chg="add mod">
          <ac:chgData name="Anjali Jaisinghani" userId="cad40627-4d93-4324-b144-18a7e046d981" providerId="ADAL" clId="{33619D88-3F50-494B-83B9-988F8B17CC2F}" dt="2023-03-21T05:35:30.919" v="9716" actId="1076"/>
          <ac:spMkLst>
            <pc:docMk/>
            <pc:sldMk cId="2872002129" sldId="2147469713"/>
            <ac:spMk id="74" creationId="{F904EFCD-F6F4-724F-D799-AE8AF80EBDC2}"/>
          </ac:spMkLst>
        </pc:spChg>
        <pc:spChg chg="add mod">
          <ac:chgData name="Anjali Jaisinghani" userId="cad40627-4d93-4324-b144-18a7e046d981" providerId="ADAL" clId="{33619D88-3F50-494B-83B9-988F8B17CC2F}" dt="2023-03-20T11:36:12.868" v="9099" actId="1076"/>
          <ac:spMkLst>
            <pc:docMk/>
            <pc:sldMk cId="2872002129" sldId="2147469713"/>
            <ac:spMk id="76" creationId="{A7C40B21-59D7-032E-D134-4C7D5CA01425}"/>
          </ac:spMkLst>
        </pc:spChg>
        <pc:spChg chg="add del mod">
          <ac:chgData name="Anjali Jaisinghani" userId="cad40627-4d93-4324-b144-18a7e046d981" providerId="ADAL" clId="{33619D88-3F50-494B-83B9-988F8B17CC2F}" dt="2023-03-20T10:07:43.657" v="8393"/>
          <ac:spMkLst>
            <pc:docMk/>
            <pc:sldMk cId="2872002129" sldId="2147469713"/>
            <ac:spMk id="77" creationId="{0CAA974D-800A-1AEF-B821-078042A945DC}"/>
          </ac:spMkLst>
        </pc:spChg>
        <pc:spChg chg="add mod">
          <ac:chgData name="Anjali Jaisinghani" userId="cad40627-4d93-4324-b144-18a7e046d981" providerId="ADAL" clId="{33619D88-3F50-494B-83B9-988F8B17CC2F}" dt="2023-03-20T11:36:07.350" v="9098" actId="1076"/>
          <ac:spMkLst>
            <pc:docMk/>
            <pc:sldMk cId="2872002129" sldId="2147469713"/>
            <ac:spMk id="78" creationId="{C1AC398B-3B46-0BAC-2ED5-A73FEC695A4E}"/>
          </ac:spMkLst>
        </pc:spChg>
        <pc:spChg chg="add del mod">
          <ac:chgData name="Anjali Jaisinghani" userId="cad40627-4d93-4324-b144-18a7e046d981" providerId="ADAL" clId="{33619D88-3F50-494B-83B9-988F8B17CC2F}" dt="2023-03-20T11:35:06.596" v="9085" actId="478"/>
          <ac:spMkLst>
            <pc:docMk/>
            <pc:sldMk cId="2872002129" sldId="2147469713"/>
            <ac:spMk id="80" creationId="{9442D395-4CCF-4D6D-40EC-73CE706FEB71}"/>
          </ac:spMkLst>
        </pc:spChg>
        <pc:spChg chg="add mod">
          <ac:chgData name="Anjali Jaisinghani" userId="cad40627-4d93-4324-b144-18a7e046d981" providerId="ADAL" clId="{33619D88-3F50-494B-83B9-988F8B17CC2F}" dt="2023-03-20T11:36:22.778" v="9100" actId="1076"/>
          <ac:spMkLst>
            <pc:docMk/>
            <pc:sldMk cId="2872002129" sldId="2147469713"/>
            <ac:spMk id="82" creationId="{5A9E9655-D223-F53C-070D-947CDF9E5F87}"/>
          </ac:spMkLst>
        </pc:spChg>
        <pc:spChg chg="add mod">
          <ac:chgData name="Anjali Jaisinghani" userId="cad40627-4d93-4324-b144-18a7e046d981" providerId="ADAL" clId="{33619D88-3F50-494B-83B9-988F8B17CC2F}" dt="2023-03-20T11:36:33.278" v="9102" actId="1076"/>
          <ac:spMkLst>
            <pc:docMk/>
            <pc:sldMk cId="2872002129" sldId="2147469713"/>
            <ac:spMk id="84" creationId="{6FA55A56-14B1-FFD1-9D69-BC3516D0056D}"/>
          </ac:spMkLst>
        </pc:spChg>
        <pc:spChg chg="add mod">
          <ac:chgData name="Anjali Jaisinghani" userId="cad40627-4d93-4324-b144-18a7e046d981" providerId="ADAL" clId="{33619D88-3F50-494B-83B9-988F8B17CC2F}" dt="2023-03-20T10:42:57.539" v="8707" actId="1076"/>
          <ac:spMkLst>
            <pc:docMk/>
            <pc:sldMk cId="2872002129" sldId="2147469713"/>
            <ac:spMk id="101" creationId="{BEA8A5D7-EC78-8D4E-3752-E5D5055E0177}"/>
          </ac:spMkLst>
        </pc:spChg>
        <pc:spChg chg="add mod">
          <ac:chgData name="Anjali Jaisinghani" userId="cad40627-4d93-4324-b144-18a7e046d981" providerId="ADAL" clId="{33619D88-3F50-494B-83B9-988F8B17CC2F}" dt="2023-03-20T10:42:57.539" v="8707" actId="1076"/>
          <ac:spMkLst>
            <pc:docMk/>
            <pc:sldMk cId="2872002129" sldId="2147469713"/>
            <ac:spMk id="102" creationId="{0BDFC9C8-1107-1DE9-55BE-29B293FEF459}"/>
          </ac:spMkLst>
        </pc:spChg>
        <pc:spChg chg="add mod">
          <ac:chgData name="Anjali Jaisinghani" userId="cad40627-4d93-4324-b144-18a7e046d981" providerId="ADAL" clId="{33619D88-3F50-494B-83B9-988F8B17CC2F}" dt="2023-03-20T10:42:57.539" v="8707" actId="1076"/>
          <ac:spMkLst>
            <pc:docMk/>
            <pc:sldMk cId="2872002129" sldId="2147469713"/>
            <ac:spMk id="103" creationId="{68B1285C-F374-6B94-847E-FDBD638AFC50}"/>
          </ac:spMkLst>
        </pc:spChg>
        <pc:spChg chg="add mod">
          <ac:chgData name="Anjali Jaisinghani" userId="cad40627-4d93-4324-b144-18a7e046d981" providerId="ADAL" clId="{33619D88-3F50-494B-83B9-988F8B17CC2F}" dt="2023-03-20T10:42:57.539" v="8707" actId="1076"/>
          <ac:spMkLst>
            <pc:docMk/>
            <pc:sldMk cId="2872002129" sldId="2147469713"/>
            <ac:spMk id="106" creationId="{CB82B772-5CC6-DE7A-A57E-2B5E7A413154}"/>
          </ac:spMkLst>
        </pc:spChg>
        <pc:spChg chg="add mod">
          <ac:chgData name="Anjali Jaisinghani" userId="cad40627-4d93-4324-b144-18a7e046d981" providerId="ADAL" clId="{33619D88-3F50-494B-83B9-988F8B17CC2F}" dt="2023-03-20T10:42:57.539" v="8707" actId="1076"/>
          <ac:spMkLst>
            <pc:docMk/>
            <pc:sldMk cId="2872002129" sldId="2147469713"/>
            <ac:spMk id="107" creationId="{EE47E8FF-E733-042E-C935-DE638157C8E0}"/>
          </ac:spMkLst>
        </pc:spChg>
        <pc:spChg chg="add mod">
          <ac:chgData name="Anjali Jaisinghani" userId="cad40627-4d93-4324-b144-18a7e046d981" providerId="ADAL" clId="{33619D88-3F50-494B-83B9-988F8B17CC2F}" dt="2023-03-21T05:27:18.340" v="9521" actId="1076"/>
          <ac:spMkLst>
            <pc:docMk/>
            <pc:sldMk cId="2872002129" sldId="2147469713"/>
            <ac:spMk id="125" creationId="{F1DDD7E4-9914-7D53-A1C1-8E8B8B23B637}"/>
          </ac:spMkLst>
        </pc:spChg>
        <pc:spChg chg="add mod">
          <ac:chgData name="Anjali Jaisinghani" userId="cad40627-4d93-4324-b144-18a7e046d981" providerId="ADAL" clId="{33619D88-3F50-494B-83B9-988F8B17CC2F}" dt="2023-03-21T05:44:03.636" v="9767" actId="1076"/>
          <ac:spMkLst>
            <pc:docMk/>
            <pc:sldMk cId="2872002129" sldId="2147469713"/>
            <ac:spMk id="142" creationId="{F787A565-7B7B-5615-A95C-5DD3CB056DF8}"/>
          </ac:spMkLst>
        </pc:spChg>
        <pc:spChg chg="add mod">
          <ac:chgData name="Anjali Jaisinghani" userId="cad40627-4d93-4324-b144-18a7e046d981" providerId="ADAL" clId="{33619D88-3F50-494B-83B9-988F8B17CC2F}" dt="2023-03-21T05:35:30.919" v="9716" actId="1076"/>
          <ac:spMkLst>
            <pc:docMk/>
            <pc:sldMk cId="2872002129" sldId="2147469713"/>
            <ac:spMk id="143" creationId="{E257AF9B-1B35-319C-43EA-341FE2631977}"/>
          </ac:spMkLst>
        </pc:spChg>
        <pc:spChg chg="add mod">
          <ac:chgData name="Anjali Jaisinghani" userId="cad40627-4d93-4324-b144-18a7e046d981" providerId="ADAL" clId="{33619D88-3F50-494B-83B9-988F8B17CC2F}" dt="2023-03-21T05:35:30.919" v="9716" actId="1076"/>
          <ac:spMkLst>
            <pc:docMk/>
            <pc:sldMk cId="2872002129" sldId="2147469713"/>
            <ac:spMk id="144" creationId="{D1A92629-2331-0EF3-1E65-1191B1DA4649}"/>
          </ac:spMkLst>
        </pc:spChg>
        <pc:spChg chg="add mod">
          <ac:chgData name="Anjali Jaisinghani" userId="cad40627-4d93-4324-b144-18a7e046d981" providerId="ADAL" clId="{33619D88-3F50-494B-83B9-988F8B17CC2F}" dt="2023-03-21T05:35:30.919" v="9716" actId="1076"/>
          <ac:spMkLst>
            <pc:docMk/>
            <pc:sldMk cId="2872002129" sldId="2147469713"/>
            <ac:spMk id="146" creationId="{151E4856-0D8A-1411-9F76-F8E5AB244BA0}"/>
          </ac:spMkLst>
        </pc:spChg>
        <pc:spChg chg="add mod">
          <ac:chgData name="Anjali Jaisinghani" userId="cad40627-4d93-4324-b144-18a7e046d981" providerId="ADAL" clId="{33619D88-3F50-494B-83B9-988F8B17CC2F}" dt="2023-03-21T05:39:38.731" v="9760" actId="1076"/>
          <ac:spMkLst>
            <pc:docMk/>
            <pc:sldMk cId="2872002129" sldId="2147469713"/>
            <ac:spMk id="153" creationId="{C304B21E-D2A3-692B-75A8-24601BDE67CA}"/>
          </ac:spMkLst>
        </pc:spChg>
        <pc:spChg chg="add mod">
          <ac:chgData name="Anjali Jaisinghani" userId="cad40627-4d93-4324-b144-18a7e046d981" providerId="ADAL" clId="{33619D88-3F50-494B-83B9-988F8B17CC2F}" dt="2023-03-21T05:47:11.365" v="9830" actId="20577"/>
          <ac:spMkLst>
            <pc:docMk/>
            <pc:sldMk cId="2872002129" sldId="2147469713"/>
            <ac:spMk id="155" creationId="{10ADBAF9-5C0E-A203-FA36-C36ECB233AAA}"/>
          </ac:spMkLst>
        </pc:spChg>
        <pc:spChg chg="add mod">
          <ac:chgData name="Anjali Jaisinghani" userId="cad40627-4d93-4324-b144-18a7e046d981" providerId="ADAL" clId="{33619D88-3F50-494B-83B9-988F8B17CC2F}" dt="2023-03-21T05:49:07.087" v="9905" actId="1076"/>
          <ac:spMkLst>
            <pc:docMk/>
            <pc:sldMk cId="2872002129" sldId="2147469713"/>
            <ac:spMk id="156" creationId="{88B47F47-DCF4-2708-662E-5E1411EDA7BC}"/>
          </ac:spMkLst>
        </pc:spChg>
        <pc:spChg chg="add mod">
          <ac:chgData name="Anjali Jaisinghani" userId="cad40627-4d93-4324-b144-18a7e046d981" providerId="ADAL" clId="{33619D88-3F50-494B-83B9-988F8B17CC2F}" dt="2023-03-21T05:50:58.374" v="9925" actId="1076"/>
          <ac:spMkLst>
            <pc:docMk/>
            <pc:sldMk cId="2872002129" sldId="2147469713"/>
            <ac:spMk id="157" creationId="{1724F9A6-5F94-AC36-D6E2-010908DA4C5E}"/>
          </ac:spMkLst>
        </pc:spChg>
        <pc:spChg chg="add mod">
          <ac:chgData name="Anjali Jaisinghani" userId="cad40627-4d93-4324-b144-18a7e046d981" providerId="ADAL" clId="{33619D88-3F50-494B-83B9-988F8B17CC2F}" dt="2023-03-21T05:51:01.273" v="9926" actId="1076"/>
          <ac:spMkLst>
            <pc:docMk/>
            <pc:sldMk cId="2872002129" sldId="2147469713"/>
            <ac:spMk id="158" creationId="{F7CB3AFC-31E5-4836-2FE5-4539D7320130}"/>
          </ac:spMkLst>
        </pc:spChg>
        <pc:spChg chg="add del mod">
          <ac:chgData name="Anjali Jaisinghani" userId="cad40627-4d93-4324-b144-18a7e046d981" providerId="ADAL" clId="{33619D88-3F50-494B-83B9-988F8B17CC2F}" dt="2023-03-21T05:50:14.968" v="9917" actId="478"/>
          <ac:spMkLst>
            <pc:docMk/>
            <pc:sldMk cId="2872002129" sldId="2147469713"/>
            <ac:spMk id="159" creationId="{49EB841E-F2E1-8988-8D88-5046940105AE}"/>
          </ac:spMkLst>
        </pc:spChg>
        <pc:spChg chg="add mod">
          <ac:chgData name="Anjali Jaisinghani" userId="cad40627-4d93-4324-b144-18a7e046d981" providerId="ADAL" clId="{33619D88-3F50-494B-83B9-988F8B17CC2F}" dt="2023-03-21T05:50:53.558" v="9924" actId="14100"/>
          <ac:spMkLst>
            <pc:docMk/>
            <pc:sldMk cId="2872002129" sldId="2147469713"/>
            <ac:spMk id="160" creationId="{50CF7805-48A1-35CD-10EA-5F38B8B2FC03}"/>
          </ac:spMkLst>
        </pc:spChg>
        <pc:grpChg chg="mod">
          <ac:chgData name="Anjali Jaisinghani" userId="cad40627-4d93-4324-b144-18a7e046d981" providerId="ADAL" clId="{33619D88-3F50-494B-83B9-988F8B17CC2F}" dt="2023-03-20T10:27:31.434" v="8670" actId="1076"/>
          <ac:grpSpMkLst>
            <pc:docMk/>
            <pc:sldMk cId="2872002129" sldId="2147469713"/>
            <ac:grpSpMk id="51" creationId="{E73AC6A1-3043-805E-CE8B-651682619D65}"/>
          </ac:grpSpMkLst>
        </pc:grpChg>
        <pc:grpChg chg="mod">
          <ac:chgData name="Anjali Jaisinghani" userId="cad40627-4d93-4324-b144-18a7e046d981" providerId="ADAL" clId="{33619D88-3F50-494B-83B9-988F8B17CC2F}" dt="2023-03-21T05:44:34.951" v="9776" actId="1076"/>
          <ac:grpSpMkLst>
            <pc:docMk/>
            <pc:sldMk cId="2872002129" sldId="2147469713"/>
            <ac:grpSpMk id="66" creationId="{EDE21777-B65A-5D19-2B0B-8BF7F33D55BD}"/>
          </ac:grpSpMkLst>
        </pc:grpChg>
        <pc:picChg chg="add del mod">
          <ac:chgData name="Anjali Jaisinghani" userId="cad40627-4d93-4324-b144-18a7e046d981" providerId="ADAL" clId="{33619D88-3F50-494B-83B9-988F8B17CC2F}" dt="2023-03-20T10:26:45.254" v="8655" actId="478"/>
          <ac:picMkLst>
            <pc:docMk/>
            <pc:sldMk cId="2872002129" sldId="2147469713"/>
            <ac:picMk id="100" creationId="{94590F16-3E97-2B0D-E5EF-C88B1E8A1F9D}"/>
          </ac:picMkLst>
        </pc:picChg>
        <pc:picChg chg="add mod modCrop">
          <ac:chgData name="Anjali Jaisinghani" userId="cad40627-4d93-4324-b144-18a7e046d981" providerId="ADAL" clId="{33619D88-3F50-494B-83B9-988F8B17CC2F}" dt="2023-03-21T05:37:38.451" v="9723" actId="1076"/>
          <ac:picMkLst>
            <pc:docMk/>
            <pc:sldMk cId="2872002129" sldId="2147469713"/>
            <ac:picMk id="151" creationId="{07D6C255-7E1A-39A4-BFA2-BF3F636A502C}"/>
          </ac:picMkLst>
        </pc:picChg>
        <pc:cxnChg chg="mod">
          <ac:chgData name="Anjali Jaisinghani" userId="cad40627-4d93-4324-b144-18a7e046d981" providerId="ADAL" clId="{33619D88-3F50-494B-83B9-988F8B17CC2F}" dt="2023-03-21T05:26:51.843" v="9519" actId="1076"/>
          <ac:cxnSpMkLst>
            <pc:docMk/>
            <pc:sldMk cId="2872002129" sldId="2147469713"/>
            <ac:cxnSpMk id="18" creationId="{E2B90F25-04D7-5EFD-B493-FCCE007F9DED}"/>
          </ac:cxnSpMkLst>
        </pc:cxnChg>
        <pc:cxnChg chg="mod">
          <ac:chgData name="Anjali Jaisinghani" userId="cad40627-4d93-4324-b144-18a7e046d981" providerId="ADAL" clId="{33619D88-3F50-494B-83B9-988F8B17CC2F}" dt="2023-03-21T05:35:30.919" v="9716" actId="1076"/>
          <ac:cxnSpMkLst>
            <pc:docMk/>
            <pc:sldMk cId="2872002129" sldId="2147469713"/>
            <ac:cxnSpMk id="23" creationId="{6FB29603-628F-296B-0CA0-32D579B2F363}"/>
          </ac:cxnSpMkLst>
        </pc:cxnChg>
        <pc:cxnChg chg="mod">
          <ac:chgData name="Anjali Jaisinghani" userId="cad40627-4d93-4324-b144-18a7e046d981" providerId="ADAL" clId="{33619D88-3F50-494B-83B9-988F8B17CC2F}" dt="2023-03-21T05:26:51.843" v="9519" actId="1076"/>
          <ac:cxnSpMkLst>
            <pc:docMk/>
            <pc:sldMk cId="2872002129" sldId="2147469713"/>
            <ac:cxnSpMk id="24" creationId="{8EDE1B53-69F8-98FF-1686-467E2180C9BD}"/>
          </ac:cxnSpMkLst>
        </pc:cxnChg>
        <pc:cxnChg chg="mod">
          <ac:chgData name="Anjali Jaisinghani" userId="cad40627-4d93-4324-b144-18a7e046d981" providerId="ADAL" clId="{33619D88-3F50-494B-83B9-988F8B17CC2F}" dt="2023-03-21T05:44:34.951" v="9776" actId="1076"/>
          <ac:cxnSpMkLst>
            <pc:docMk/>
            <pc:sldMk cId="2872002129" sldId="2147469713"/>
            <ac:cxnSpMk id="28" creationId="{4C598E9C-6FC3-B9A5-3660-6A405674C2B8}"/>
          </ac:cxnSpMkLst>
        </pc:cxnChg>
        <pc:cxnChg chg="mod">
          <ac:chgData name="Anjali Jaisinghani" userId="cad40627-4d93-4324-b144-18a7e046d981" providerId="ADAL" clId="{33619D88-3F50-494B-83B9-988F8B17CC2F}" dt="2023-03-21T05:39:22.475" v="9758" actId="1076"/>
          <ac:cxnSpMkLst>
            <pc:docMk/>
            <pc:sldMk cId="2872002129" sldId="2147469713"/>
            <ac:cxnSpMk id="33" creationId="{CC082053-A907-0BE1-B6B6-554343B1F305}"/>
          </ac:cxnSpMkLst>
        </pc:cxnChg>
        <pc:cxnChg chg="add del mod">
          <ac:chgData name="Anjali Jaisinghani" userId="cad40627-4d93-4324-b144-18a7e046d981" providerId="ADAL" clId="{33619D88-3F50-494B-83B9-988F8B17CC2F}" dt="2023-03-20T11:36:39.962" v="9104" actId="478"/>
          <ac:cxnSpMkLst>
            <pc:docMk/>
            <pc:sldMk cId="2872002129" sldId="2147469713"/>
            <ac:cxnSpMk id="110" creationId="{8314BF0F-2A20-6862-F1A7-F473DDA5A0F0}"/>
          </ac:cxnSpMkLst>
        </pc:cxnChg>
        <pc:cxnChg chg="add mod">
          <ac:chgData name="Anjali Jaisinghani" userId="cad40627-4d93-4324-b144-18a7e046d981" providerId="ADAL" clId="{33619D88-3F50-494B-83B9-988F8B17CC2F}" dt="2023-03-21T05:35:30.919" v="9716" actId="1076"/>
          <ac:cxnSpMkLst>
            <pc:docMk/>
            <pc:sldMk cId="2872002129" sldId="2147469713"/>
            <ac:cxnSpMk id="112" creationId="{E5C9D652-6B7E-863C-F2F6-3E932F4A1987}"/>
          </ac:cxnSpMkLst>
        </pc:cxnChg>
        <pc:cxnChg chg="add mod">
          <ac:chgData name="Anjali Jaisinghani" userId="cad40627-4d93-4324-b144-18a7e046d981" providerId="ADAL" clId="{33619D88-3F50-494B-83B9-988F8B17CC2F}" dt="2023-03-21T05:35:30.919" v="9716" actId="1076"/>
          <ac:cxnSpMkLst>
            <pc:docMk/>
            <pc:sldMk cId="2872002129" sldId="2147469713"/>
            <ac:cxnSpMk id="113" creationId="{DA51A294-8995-17F7-F27E-1084BF4E3FD3}"/>
          </ac:cxnSpMkLst>
        </pc:cxnChg>
        <pc:cxnChg chg="add mod">
          <ac:chgData name="Anjali Jaisinghani" userId="cad40627-4d93-4324-b144-18a7e046d981" providerId="ADAL" clId="{33619D88-3F50-494B-83B9-988F8B17CC2F}" dt="2023-03-21T05:35:30.919" v="9716" actId="1076"/>
          <ac:cxnSpMkLst>
            <pc:docMk/>
            <pc:sldMk cId="2872002129" sldId="2147469713"/>
            <ac:cxnSpMk id="116" creationId="{290A0A3A-1507-54FB-B2C5-3372AAA16F32}"/>
          </ac:cxnSpMkLst>
        </pc:cxnChg>
      </pc:sldChg>
      <pc:sldMasterChg chg="delSldLayout">
        <pc:chgData name="Anjali Jaisinghani" userId="cad40627-4d93-4324-b144-18a7e046d981" providerId="ADAL" clId="{33619D88-3F50-494B-83B9-988F8B17CC2F}" dt="2023-03-15T11:00:53.180" v="291" actId="47"/>
        <pc:sldMasterMkLst>
          <pc:docMk/>
          <pc:sldMasterMk cId="3496291305" sldId="2147483759"/>
        </pc:sldMasterMkLst>
        <pc:sldLayoutChg chg="del">
          <pc:chgData name="Anjali Jaisinghani" userId="cad40627-4d93-4324-b144-18a7e046d981" providerId="ADAL" clId="{33619D88-3F50-494B-83B9-988F8B17CC2F}" dt="2023-03-15T11:00:53.180" v="291" actId="47"/>
          <pc:sldLayoutMkLst>
            <pc:docMk/>
            <pc:sldMasterMk cId="3496291305" sldId="2147483759"/>
            <pc:sldLayoutMk cId="2735674210" sldId="2147483772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E496E9-74D4-FE4E-BA85-D89C17268E9F}" type="datetimeFigureOut">
              <a:t>3/2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CA"/>
              <a:t>Click to edit Master text styles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4"/>
            <a:r>
              <a:rPr lang="en-CA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985182-26E9-3A41-9AD1-60867BE29576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47658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03BFBF-CA30-4639-8EFB-A64C983617D9}" type="slidenum">
              <a:rPr lang="en-IN" smtClean="0"/>
              <a:t>3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256323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03BFBF-CA30-4639-8EFB-A64C983617D9}" type="slidenum">
              <a:rPr lang="en-IN" smtClean="0"/>
              <a:t>4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292075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985182-26E9-3A41-9AD1-60867BE29576}" type="slidenum">
              <a:rPr lang="en-IN" smtClean="0"/>
              <a:t>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399965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985182-26E9-3A41-9AD1-60867BE29576}" type="slidenum">
              <a:rPr lang="en-IN" smtClean="0"/>
              <a:t>6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178934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985182-26E9-3A41-9AD1-60867BE29576}" type="slidenum">
              <a:rPr lang="en-IN" smtClean="0"/>
              <a:t>7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899977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5.pn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0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0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0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0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7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7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7" Type="http://schemas.openxmlformats.org/officeDocument/2006/relationships/image" Target="../media/image4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6" Type="http://schemas.openxmlformats.org/officeDocument/2006/relationships/image" Target="../media/image40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39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7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7" Type="http://schemas.openxmlformats.org/officeDocument/2006/relationships/image" Target="../media/image4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6" Type="http://schemas.openxmlformats.org/officeDocument/2006/relationships/image" Target="../media/image40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9.pn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7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-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8D35201-AC2E-E04B-97CE-9D38C260BC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6" y="-28266"/>
            <a:ext cx="9143514" cy="5171766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8170B4A3-6211-6442-A6A5-C59356D30F4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2099" y="719600"/>
            <a:ext cx="4179902" cy="980063"/>
          </a:xfrm>
          <a:prstGeom prst="rect">
            <a:avLst/>
          </a:prstGeom>
        </p:spPr>
        <p:txBody>
          <a:bodyPr/>
          <a:lstStyle>
            <a:lvl1pPr>
              <a:lnSpc>
                <a:spcPts val="3800"/>
              </a:lnSpc>
              <a:spcBef>
                <a:spcPts val="0"/>
              </a:spcBef>
              <a:defRPr sz="3600" b="0" i="0">
                <a:solidFill>
                  <a:srgbClr val="003946"/>
                </a:solidFill>
                <a:latin typeface="Sun Life Sans Light" panose="02000503000000020004" pitchFamily="2" charset="77"/>
                <a:cs typeface="Calibri"/>
              </a:defRPr>
            </a:lvl1pPr>
          </a:lstStyle>
          <a:p>
            <a:r>
              <a:rPr lang="en-CA"/>
              <a:t>Presentation title </a:t>
            </a:r>
            <a:br>
              <a:rPr lang="en-CA"/>
            </a:br>
            <a:r>
              <a:rPr lang="en-CA"/>
              <a:t>is written here</a:t>
            </a:r>
            <a:endParaRPr lang="en-US"/>
          </a:p>
        </p:txBody>
      </p:sp>
      <p:sp>
        <p:nvSpPr>
          <p:cNvPr id="11" name="Content Placeholder 24">
            <a:extLst>
              <a:ext uri="{FF2B5EF4-FFF2-40B4-BE49-F238E27FC236}">
                <a16:creationId xmlns:a16="http://schemas.microsoft.com/office/drawing/2014/main" id="{012273C8-B89B-C64B-8BCF-F92439A965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96707" y="2053438"/>
            <a:ext cx="1755775" cy="2783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>
                <a:latin typeface="Sun Life Sans Regular" panose="02000503000000020004" pitchFamily="2" charset="77"/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CA"/>
              <a:t>Month, 20XX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EA1D3C50-631B-E840-9BC8-37EB14A35B9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9738" y="467498"/>
            <a:ext cx="1620577" cy="394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38881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7FFE5980-0A3A-E441-B2BB-A5D9EAB039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668" y="-6350"/>
            <a:ext cx="6885797" cy="58102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defRPr sz="2500">
                <a:latin typeface="Sun Life Sans Regular" panose="02000503000000020004" pitchFamily="2" charset="77"/>
              </a:defRPr>
            </a:lvl1pPr>
          </a:lstStyle>
          <a:p>
            <a:r>
              <a:rPr lang="en-CA"/>
              <a:t>Headline goes here </a:t>
            </a:r>
            <a:endParaRPr lang="en-US"/>
          </a:p>
        </p:txBody>
      </p:sp>
      <p:sp>
        <p:nvSpPr>
          <p:cNvPr id="9" name="Content Placeholder 14">
            <a:extLst>
              <a:ext uri="{FF2B5EF4-FFF2-40B4-BE49-F238E27FC236}">
                <a16:creationId xmlns:a16="http://schemas.microsoft.com/office/drawing/2014/main" id="{B3F1F5D7-D06A-AE45-8926-37EC03DD902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53934" y="574675"/>
            <a:ext cx="8236129" cy="3924173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555555"/>
                </a:solidFill>
                <a:latin typeface="Sun Life Sans Regular" panose="02000503000000020004" pitchFamily="2" charset="77"/>
              </a:defRPr>
            </a:lvl1pPr>
            <a:lvl2pPr marL="86400" indent="-122400">
              <a:buClr>
                <a:srgbClr val="EAAB00"/>
              </a:buClr>
              <a:defRPr sz="1200">
                <a:solidFill>
                  <a:srgbClr val="555555"/>
                </a:solidFill>
                <a:latin typeface="Sun Life Sans Regular" panose="02000503000000020004" pitchFamily="2" charset="77"/>
              </a:defRPr>
            </a:lvl2pPr>
            <a:lvl3pPr marL="237600" indent="-122400">
              <a:buClr>
                <a:srgbClr val="EAAB00"/>
              </a:buClr>
              <a:defRPr sz="1200">
                <a:solidFill>
                  <a:srgbClr val="555555"/>
                </a:solidFill>
                <a:latin typeface="Sun Life Sans Regular" panose="02000503000000020004" pitchFamily="2" charset="77"/>
              </a:defRPr>
            </a:lvl3pPr>
            <a:lvl4pPr marL="356400" indent="-122400">
              <a:buClr>
                <a:srgbClr val="EAAB00"/>
              </a:buClr>
              <a:defRPr sz="1200">
                <a:solidFill>
                  <a:srgbClr val="555555"/>
                </a:solidFill>
                <a:latin typeface="Sun Life Sans Regular" panose="02000503000000020004" pitchFamily="2" charset="77"/>
              </a:defRPr>
            </a:lvl4pPr>
            <a:lvl5pPr marL="478800" indent="-122400">
              <a:buClr>
                <a:srgbClr val="EAAB00"/>
              </a:buClr>
              <a:defRPr sz="1200">
                <a:solidFill>
                  <a:srgbClr val="555555"/>
                </a:solidFill>
                <a:latin typeface="Sun Life Sans Regular" panose="02000503000000020004" pitchFamily="2" charset="77"/>
              </a:defRPr>
            </a:lvl5pPr>
          </a:lstStyle>
          <a:p>
            <a:pPr lvl="0"/>
            <a:r>
              <a:rPr lang="en-CA"/>
              <a:t>Add text here</a:t>
            </a:r>
          </a:p>
          <a:p>
            <a:pPr lvl="1"/>
            <a:r>
              <a:rPr lang="en-CA"/>
              <a:t>bullet level 1</a:t>
            </a:r>
          </a:p>
          <a:p>
            <a:pPr lvl="2"/>
            <a:r>
              <a:rPr lang="en-CA"/>
              <a:t>bullet level 2</a:t>
            </a:r>
          </a:p>
          <a:p>
            <a:pPr lvl="3"/>
            <a:r>
              <a:rPr lang="en-CA"/>
              <a:t>bullet level 3</a:t>
            </a:r>
          </a:p>
          <a:p>
            <a:pPr lvl="4"/>
            <a:r>
              <a:rPr lang="en-CA"/>
              <a:t>bullet level 4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16CAADC-68C1-0B4C-B7B1-DD056DFF0B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70533" y="3859628"/>
            <a:ext cx="3088506" cy="1278439"/>
          </a:xfrm>
          <a:prstGeom prst="rect">
            <a:avLst/>
          </a:prstGeom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4742D20E-0657-584F-A7E4-AD35B7399F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37576" y="4781543"/>
            <a:ext cx="432285" cy="208841"/>
          </a:xfrm>
          <a:prstGeom prst="rect">
            <a:avLst/>
          </a:prstGeom>
        </p:spPr>
        <p:txBody>
          <a:bodyPr vert="horz" lIns="91440" tIns="45720" rIns="90000" bIns="45720" rtlCol="0" anchor="ctr"/>
          <a:lstStyle>
            <a:lvl1pPr algn="r">
              <a:defRPr sz="750" b="0">
                <a:solidFill>
                  <a:srgbClr val="003946"/>
                </a:solidFill>
                <a:latin typeface="Sun Life Sans Regular" panose="02000503000000020004" pitchFamily="2" charset="77"/>
                <a:cs typeface="Calibri"/>
              </a:defRPr>
            </a:lvl1pPr>
          </a:lstStyle>
          <a:p>
            <a:fld id="{CD0B62E8-4833-C84D-A86B-4CF3C4DE74F8}" type="slidenum">
              <a:rPr lang="uk-UA" smtClean="0"/>
              <a:pPr/>
              <a:t>‹#›</a:t>
            </a:fld>
            <a:endParaRPr lang="uk-UA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CB7C37E-CEB8-F346-91EB-3076A1626D1B}"/>
              </a:ext>
            </a:extLst>
          </p:cNvPr>
          <p:cNvSpPr txBox="1"/>
          <p:nvPr userDrawn="1"/>
        </p:nvSpPr>
        <p:spPr>
          <a:xfrm>
            <a:off x="450668" y="4789518"/>
            <a:ext cx="1036938" cy="208840"/>
          </a:xfrm>
          <a:prstGeom prst="rect">
            <a:avLst/>
          </a:prstGeom>
          <a:noFill/>
        </p:spPr>
        <p:txBody>
          <a:bodyPr wrap="square" lIns="0" rIns="72000" bIns="4680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750" b="0" i="0" spc="300" baseline="0">
                <a:solidFill>
                  <a:srgbClr val="003946"/>
                </a:solidFill>
                <a:latin typeface="Sun Life Sans Regular" panose="02000503000000020004" pitchFamily="2" charset="77"/>
                <a:cs typeface="Calibri" panose="020F0502020204030204" pitchFamily="34" charset="0"/>
              </a:rPr>
              <a:t>SUN LIFE </a:t>
            </a:r>
            <a:r>
              <a:rPr lang="en-CA" sz="750" b="0" i="0" spc="300" baseline="0">
                <a:solidFill>
                  <a:srgbClr val="FEBE10"/>
                </a:solidFill>
                <a:latin typeface="Sun Life Sans Regular" panose="02000503000000020004" pitchFamily="2" charset="77"/>
                <a:cs typeface="Calibri" panose="020F0502020204030204" pitchFamily="34" charset="0"/>
              </a:rPr>
              <a:t>•</a:t>
            </a:r>
            <a:endParaRPr lang="en-CA" sz="750" b="0" i="0" spc="300" baseline="0">
              <a:solidFill>
                <a:srgbClr val="EAAB00"/>
              </a:solidFill>
              <a:latin typeface="Sun Life Sans Regular" panose="02000503000000020004" pitchFamily="2" charset="77"/>
              <a:cs typeface="Calibri" panose="020F050202020403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064F02DC-D120-F14E-80E6-363F9ED73B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90185" y="4789517"/>
            <a:ext cx="6464512" cy="200867"/>
          </a:xfrm>
          <a:prstGeom prst="rect">
            <a:avLst/>
          </a:prstGeom>
        </p:spPr>
        <p:txBody>
          <a:bodyPr lIns="0" rIns="0"/>
          <a:lstStyle>
            <a:lvl1pPr>
              <a:buFontTx/>
              <a:buNone/>
              <a:defRPr sz="750" b="0" i="0" spc="400" baseline="0">
                <a:latin typeface="Sun Life Sans Regular" panose="02000503000000020004" pitchFamily="2" charset="77"/>
              </a:defRPr>
            </a:lvl1pPr>
            <a:lvl2pPr marL="0" indent="0">
              <a:buFontTx/>
              <a:buNone/>
              <a:defRPr/>
            </a:lvl2pPr>
            <a:lvl3pPr marL="271463" indent="0">
              <a:buFontTx/>
              <a:buNone/>
              <a:defRPr/>
            </a:lvl3pPr>
            <a:lvl4pPr marL="449263" indent="0">
              <a:buFontTx/>
              <a:buNone/>
              <a:defRPr/>
            </a:lvl4pPr>
            <a:lvl5pPr marL="627063" indent="0">
              <a:buFontTx/>
              <a:buNone/>
              <a:defRPr/>
            </a:lvl5pPr>
          </a:lstStyle>
          <a:p>
            <a:pPr lvl="0"/>
            <a:r>
              <a:rPr lang="en-US"/>
              <a:t>PPT topic</a:t>
            </a:r>
          </a:p>
        </p:txBody>
      </p:sp>
    </p:spTree>
    <p:extLst>
      <p:ext uri="{BB962C8B-B14F-4D97-AF65-F5344CB8AC3E}">
        <p14:creationId xmlns:p14="http://schemas.microsoft.com/office/powerpoint/2010/main" val="32502258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87428E2-B08C-E245-85CE-72E0F9DD9B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00774" y="0"/>
            <a:ext cx="1438652" cy="5143500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A3DBFE4-11EE-C945-BCC4-8D97A496F0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37576" y="4781543"/>
            <a:ext cx="432285" cy="208841"/>
          </a:xfrm>
          <a:prstGeom prst="rect">
            <a:avLst/>
          </a:prstGeom>
        </p:spPr>
        <p:txBody>
          <a:bodyPr vert="horz" lIns="91440" tIns="45720" rIns="90000" bIns="45720" rtlCol="0" anchor="ctr"/>
          <a:lstStyle>
            <a:lvl1pPr algn="r">
              <a:defRPr sz="750" b="0">
                <a:solidFill>
                  <a:srgbClr val="003946"/>
                </a:solidFill>
                <a:latin typeface="Sun Life Sans Regular" panose="02000503000000020004" pitchFamily="2" charset="77"/>
                <a:cs typeface="Calibri"/>
              </a:defRPr>
            </a:lvl1pPr>
          </a:lstStyle>
          <a:p>
            <a:fld id="{CD0B62E8-4833-C84D-A86B-4CF3C4DE74F8}" type="slidenum">
              <a:rPr lang="uk-UA" smtClean="0"/>
              <a:pPr/>
              <a:t>‹#›</a:t>
            </a:fld>
            <a:endParaRPr lang="uk-UA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5F01242-8E52-8D4A-9DA8-8DC8609F63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668" y="0"/>
            <a:ext cx="6885797" cy="58102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defRPr sz="2500">
                <a:latin typeface="Sun Life Sans Regular" panose="02000503000000020004" pitchFamily="2" charset="77"/>
              </a:defRPr>
            </a:lvl1pPr>
          </a:lstStyle>
          <a:p>
            <a:r>
              <a:rPr lang="en-CA"/>
              <a:t>Headline goes here </a:t>
            </a:r>
            <a:endParaRPr lang="en-US"/>
          </a:p>
        </p:txBody>
      </p:sp>
      <p:sp>
        <p:nvSpPr>
          <p:cNvPr id="14" name="Content Placeholder 14">
            <a:extLst>
              <a:ext uri="{FF2B5EF4-FFF2-40B4-BE49-F238E27FC236}">
                <a16:creationId xmlns:a16="http://schemas.microsoft.com/office/drawing/2014/main" id="{BB40D63C-80E9-5349-9B9D-4C23F3C0159C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53935" y="581025"/>
            <a:ext cx="7793954" cy="3917823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555555"/>
                </a:solidFill>
                <a:latin typeface="Sun Life Sans Regular" panose="02000503000000020004" pitchFamily="2" charset="77"/>
              </a:defRPr>
            </a:lvl1pPr>
            <a:lvl2pPr marL="86400" indent="-122400">
              <a:buClr>
                <a:srgbClr val="EAAB00"/>
              </a:buClr>
              <a:defRPr sz="1200">
                <a:solidFill>
                  <a:srgbClr val="555555"/>
                </a:solidFill>
                <a:latin typeface="Sun Life Sans Regular" panose="02000503000000020004" pitchFamily="2" charset="77"/>
              </a:defRPr>
            </a:lvl2pPr>
            <a:lvl3pPr marL="237600" indent="-122400">
              <a:buClr>
                <a:srgbClr val="EAAB00"/>
              </a:buClr>
              <a:defRPr sz="1200">
                <a:solidFill>
                  <a:srgbClr val="555555"/>
                </a:solidFill>
                <a:latin typeface="Sun Life Sans Regular" panose="02000503000000020004" pitchFamily="2" charset="77"/>
              </a:defRPr>
            </a:lvl3pPr>
            <a:lvl4pPr marL="356400" indent="-122400">
              <a:buClr>
                <a:srgbClr val="EAAB00"/>
              </a:buClr>
              <a:defRPr sz="1200">
                <a:solidFill>
                  <a:srgbClr val="555555"/>
                </a:solidFill>
                <a:latin typeface="Sun Life Sans Regular" panose="02000503000000020004" pitchFamily="2" charset="77"/>
              </a:defRPr>
            </a:lvl4pPr>
            <a:lvl5pPr marL="478800" indent="-122400">
              <a:buClr>
                <a:srgbClr val="EAAB00"/>
              </a:buClr>
              <a:defRPr sz="1200">
                <a:solidFill>
                  <a:srgbClr val="555555"/>
                </a:solidFill>
                <a:latin typeface="Sun Life Sans Regular" panose="02000503000000020004" pitchFamily="2" charset="77"/>
              </a:defRPr>
            </a:lvl5pPr>
          </a:lstStyle>
          <a:p>
            <a:pPr lvl="0"/>
            <a:r>
              <a:rPr lang="en-CA"/>
              <a:t>Add text here</a:t>
            </a:r>
          </a:p>
          <a:p>
            <a:pPr lvl="1"/>
            <a:r>
              <a:rPr lang="en-CA"/>
              <a:t>bullet level 1</a:t>
            </a:r>
          </a:p>
          <a:p>
            <a:pPr lvl="2"/>
            <a:r>
              <a:rPr lang="en-CA"/>
              <a:t>bullet level 2</a:t>
            </a:r>
          </a:p>
          <a:p>
            <a:pPr lvl="3"/>
            <a:r>
              <a:rPr lang="en-CA"/>
              <a:t>bullet level 3</a:t>
            </a:r>
          </a:p>
          <a:p>
            <a:pPr lvl="4"/>
            <a:r>
              <a:rPr lang="en-CA"/>
              <a:t>bullet level 4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228A713-42BF-764B-ACE1-E5F14D629149}"/>
              </a:ext>
            </a:extLst>
          </p:cNvPr>
          <p:cNvSpPr txBox="1"/>
          <p:nvPr userDrawn="1"/>
        </p:nvSpPr>
        <p:spPr>
          <a:xfrm>
            <a:off x="450668" y="4789518"/>
            <a:ext cx="1036938" cy="208840"/>
          </a:xfrm>
          <a:prstGeom prst="rect">
            <a:avLst/>
          </a:prstGeom>
          <a:noFill/>
        </p:spPr>
        <p:txBody>
          <a:bodyPr wrap="square" lIns="0" rIns="72000" bIns="4680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750" b="0" i="0" spc="300" baseline="0">
                <a:solidFill>
                  <a:srgbClr val="003946"/>
                </a:solidFill>
                <a:latin typeface="Sun Life Sans Regular" panose="02000503000000020004" pitchFamily="2" charset="77"/>
                <a:cs typeface="Calibri" panose="020F0502020204030204" pitchFamily="34" charset="0"/>
              </a:rPr>
              <a:t>SUN LIFE </a:t>
            </a:r>
            <a:r>
              <a:rPr lang="en-CA" sz="750" b="0" i="0" spc="300" baseline="0">
                <a:solidFill>
                  <a:srgbClr val="FEBE10"/>
                </a:solidFill>
                <a:latin typeface="Sun Life Sans Regular" panose="02000503000000020004" pitchFamily="2" charset="77"/>
                <a:cs typeface="Calibri" panose="020F0502020204030204" pitchFamily="34" charset="0"/>
              </a:rPr>
              <a:t>•</a:t>
            </a:r>
            <a:endParaRPr lang="en-CA" sz="750" b="0" i="0" spc="300" baseline="0">
              <a:solidFill>
                <a:srgbClr val="EAAB00"/>
              </a:solidFill>
              <a:latin typeface="Sun Life Sans Regular" panose="02000503000000020004" pitchFamily="2" charset="77"/>
              <a:cs typeface="Calibri" panose="020F0502020204030204" pitchFamily="34" charset="0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418BCA1-696F-3742-BCB3-BD6F6F19C2E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90185" y="4789517"/>
            <a:ext cx="6464512" cy="200867"/>
          </a:xfrm>
          <a:prstGeom prst="rect">
            <a:avLst/>
          </a:prstGeom>
        </p:spPr>
        <p:txBody>
          <a:bodyPr lIns="0" rIns="0"/>
          <a:lstStyle>
            <a:lvl1pPr>
              <a:buFontTx/>
              <a:buNone/>
              <a:defRPr sz="750" b="0" i="0" spc="400" baseline="0">
                <a:latin typeface="Sun Life Sans Regular" panose="02000503000000020004" pitchFamily="2" charset="77"/>
              </a:defRPr>
            </a:lvl1pPr>
            <a:lvl2pPr marL="0" indent="0">
              <a:buFontTx/>
              <a:buNone/>
              <a:defRPr/>
            </a:lvl2pPr>
            <a:lvl3pPr marL="271463" indent="0">
              <a:buFontTx/>
              <a:buNone/>
              <a:defRPr/>
            </a:lvl3pPr>
            <a:lvl4pPr marL="449263" indent="0">
              <a:buFontTx/>
              <a:buNone/>
              <a:defRPr/>
            </a:lvl4pPr>
            <a:lvl5pPr marL="627063" indent="0">
              <a:buFontTx/>
              <a:buNone/>
              <a:defRPr/>
            </a:lvl5pPr>
          </a:lstStyle>
          <a:p>
            <a:pPr lvl="0"/>
            <a:r>
              <a:rPr lang="en-US"/>
              <a:t>PPT topic</a:t>
            </a:r>
          </a:p>
        </p:txBody>
      </p:sp>
    </p:spTree>
    <p:extLst>
      <p:ext uri="{BB962C8B-B14F-4D97-AF65-F5344CB8AC3E}">
        <p14:creationId xmlns:p14="http://schemas.microsoft.com/office/powerpoint/2010/main" val="36980622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6D76A99-7F3A-B348-91C6-5BB441F5E7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37576" y="4781543"/>
            <a:ext cx="432285" cy="208841"/>
          </a:xfrm>
          <a:prstGeom prst="rect">
            <a:avLst/>
          </a:prstGeom>
        </p:spPr>
        <p:txBody>
          <a:bodyPr vert="horz" lIns="91440" tIns="45720" rIns="90000" bIns="45720" rtlCol="0" anchor="ctr"/>
          <a:lstStyle>
            <a:lvl1pPr algn="r">
              <a:defRPr sz="750" b="0">
                <a:solidFill>
                  <a:srgbClr val="003946"/>
                </a:solidFill>
                <a:latin typeface="Sun Life Sans Regular" panose="02000503000000020004" pitchFamily="2" charset="77"/>
                <a:cs typeface="Calibri"/>
              </a:defRPr>
            </a:lvl1pPr>
          </a:lstStyle>
          <a:p>
            <a:fld id="{CD0B62E8-4833-C84D-A86B-4CF3C4DE74F8}" type="slidenum">
              <a:rPr lang="uk-UA" smtClean="0"/>
              <a:pPr/>
              <a:t>‹#›</a:t>
            </a:fld>
            <a:endParaRPr lang="uk-UA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162E58C-E2FC-244E-8725-88C361D0EE92}"/>
              </a:ext>
            </a:extLst>
          </p:cNvPr>
          <p:cNvSpPr txBox="1"/>
          <p:nvPr userDrawn="1"/>
        </p:nvSpPr>
        <p:spPr>
          <a:xfrm>
            <a:off x="450668" y="4789518"/>
            <a:ext cx="1036938" cy="208840"/>
          </a:xfrm>
          <a:prstGeom prst="rect">
            <a:avLst/>
          </a:prstGeom>
          <a:noFill/>
        </p:spPr>
        <p:txBody>
          <a:bodyPr wrap="square" lIns="0" rIns="72000" bIns="4680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750" b="0" i="0" spc="300" baseline="0">
                <a:solidFill>
                  <a:srgbClr val="003946"/>
                </a:solidFill>
                <a:latin typeface="Sun Life Sans Regular" panose="02000503000000020004" pitchFamily="2" charset="77"/>
                <a:cs typeface="Calibri" panose="020F0502020204030204" pitchFamily="34" charset="0"/>
              </a:rPr>
              <a:t>SUN LIFE </a:t>
            </a:r>
            <a:r>
              <a:rPr lang="en-CA" sz="750" b="0" i="0" spc="300" baseline="0">
                <a:solidFill>
                  <a:srgbClr val="FEBE10"/>
                </a:solidFill>
                <a:latin typeface="Sun Life Sans Regular" panose="02000503000000020004" pitchFamily="2" charset="77"/>
                <a:cs typeface="Calibri" panose="020F0502020204030204" pitchFamily="34" charset="0"/>
              </a:rPr>
              <a:t>•</a:t>
            </a:r>
            <a:endParaRPr lang="en-CA" sz="750" b="0" i="0" spc="300" baseline="0">
              <a:solidFill>
                <a:srgbClr val="EAAB00"/>
              </a:solidFill>
              <a:latin typeface="Sun Life Sans Regular" panose="02000503000000020004" pitchFamily="2" charset="77"/>
              <a:cs typeface="Calibri" panose="020F0502020204030204" pitchFamily="34" charset="0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407FDCB-D620-D341-B4D3-D617EE5489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90185" y="4789517"/>
            <a:ext cx="6464512" cy="200867"/>
          </a:xfrm>
          <a:prstGeom prst="rect">
            <a:avLst/>
          </a:prstGeom>
        </p:spPr>
        <p:txBody>
          <a:bodyPr lIns="0" rIns="0"/>
          <a:lstStyle>
            <a:lvl1pPr>
              <a:buFontTx/>
              <a:buNone/>
              <a:defRPr sz="750" b="0" i="0" spc="400" baseline="0">
                <a:latin typeface="Sun Life Sans Regular" panose="02000503000000020004" pitchFamily="2" charset="77"/>
              </a:defRPr>
            </a:lvl1pPr>
            <a:lvl2pPr marL="0" indent="0">
              <a:buFontTx/>
              <a:buNone/>
              <a:defRPr/>
            </a:lvl2pPr>
            <a:lvl3pPr marL="271463" indent="0">
              <a:buFontTx/>
              <a:buNone/>
              <a:defRPr/>
            </a:lvl3pPr>
            <a:lvl4pPr marL="449263" indent="0">
              <a:buFontTx/>
              <a:buNone/>
              <a:defRPr/>
            </a:lvl4pPr>
            <a:lvl5pPr marL="627063" indent="0">
              <a:buFontTx/>
              <a:buNone/>
              <a:defRPr/>
            </a:lvl5pPr>
          </a:lstStyle>
          <a:p>
            <a:pPr lvl="0"/>
            <a:r>
              <a:rPr lang="en-US"/>
              <a:t>PPT topic</a:t>
            </a:r>
          </a:p>
        </p:txBody>
      </p:sp>
    </p:spTree>
    <p:extLst>
      <p:ext uri="{BB962C8B-B14F-4D97-AF65-F5344CB8AC3E}">
        <p14:creationId xmlns:p14="http://schemas.microsoft.com/office/powerpoint/2010/main" val="12922396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53244D96-56D4-624C-9FD7-1E1AAE150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385" y="0"/>
            <a:ext cx="9145385" cy="51625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17C1FA3-7130-AB49-90DF-8A2A3791EC9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571750"/>
            <a:ext cx="2984500" cy="25908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7F60A9A-93A1-AB4D-BBC6-22D23D2B23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5694" y="1136977"/>
            <a:ext cx="3649662" cy="2089150"/>
          </a:xfrm>
          <a:prstGeom prst="rect">
            <a:avLst/>
          </a:prstGeom>
        </p:spPr>
        <p:txBody>
          <a:bodyPr/>
          <a:lstStyle>
            <a:lvl1pPr>
              <a:defRPr sz="2400" b="0" i="0">
                <a:latin typeface="Sun Life Sans Light" panose="02000503000000020004" pitchFamily="2" charset="77"/>
              </a:defRPr>
            </a:lvl1pPr>
            <a:lvl2pPr>
              <a:defRPr sz="2400" b="0" i="0">
                <a:latin typeface="Sun Life Sans Light" panose="02000503000000020004" pitchFamily="2" charset="77"/>
              </a:defRPr>
            </a:lvl2pPr>
            <a:lvl3pPr>
              <a:defRPr sz="2400" b="0" i="0">
                <a:latin typeface="Sun Life Sans Light" panose="02000503000000020004" pitchFamily="2" charset="77"/>
              </a:defRPr>
            </a:lvl3pPr>
            <a:lvl4pPr>
              <a:defRPr sz="2400" b="0" i="0">
                <a:latin typeface="Sun Life Sans Light" panose="02000503000000020004" pitchFamily="2" charset="77"/>
              </a:defRPr>
            </a:lvl4pPr>
            <a:lvl5pPr>
              <a:defRPr sz="2400" b="0" i="0">
                <a:latin typeface="Sun Life Sans Light" panose="02000503000000020004" pitchFamily="2" charset="77"/>
              </a:defRPr>
            </a:lvl5pPr>
          </a:lstStyle>
          <a:p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Duis sit </a:t>
            </a:r>
            <a:r>
              <a:rPr lang="en-US" sz="2400" b="0" i="0" err="1">
                <a:solidFill>
                  <a:srgbClr val="003946"/>
                </a:solidFill>
                <a:latin typeface="Sun Life Sans Light" panose="02000503000000020004" pitchFamily="2" charset="77"/>
              </a:rPr>
              <a:t>amet</a:t>
            </a:r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 pulvinar </a:t>
            </a:r>
            <a:r>
              <a:rPr lang="en-US" sz="2400" b="0" i="0" err="1">
                <a:solidFill>
                  <a:srgbClr val="003946"/>
                </a:solidFill>
                <a:latin typeface="Sun Life Sans Light" panose="02000503000000020004" pitchFamily="2" charset="77"/>
              </a:rPr>
              <a:t>odio</a:t>
            </a:r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 sed </a:t>
            </a:r>
            <a:r>
              <a:rPr lang="en-US" sz="2400" b="0" i="0" err="1">
                <a:solidFill>
                  <a:srgbClr val="003946"/>
                </a:solidFill>
                <a:latin typeface="Sun Life Sans Light" panose="02000503000000020004" pitchFamily="2" charset="77"/>
              </a:rPr>
              <a:t>commodo</a:t>
            </a:r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 </a:t>
            </a:r>
            <a:r>
              <a:rPr lang="en-US" sz="2400" b="0" i="0" err="1">
                <a:solidFill>
                  <a:srgbClr val="003946"/>
                </a:solidFill>
                <a:latin typeface="Sun Life Sans Light" panose="02000503000000020004" pitchFamily="2" charset="77"/>
              </a:rPr>
              <a:t>neque</a:t>
            </a:r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 </a:t>
            </a:r>
            <a:r>
              <a:rPr lang="en-US" sz="2400" b="0" i="0" err="1">
                <a:solidFill>
                  <a:srgbClr val="003946"/>
                </a:solidFill>
                <a:latin typeface="Sun Life Sans Light" panose="02000503000000020004" pitchFamily="2" charset="77"/>
              </a:rPr>
              <a:t>aliquam</a:t>
            </a:r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 eta vestibulum lorem.</a:t>
            </a:r>
          </a:p>
        </p:txBody>
      </p:sp>
    </p:spTree>
    <p:extLst>
      <p:ext uri="{BB962C8B-B14F-4D97-AF65-F5344CB8AC3E}">
        <p14:creationId xmlns:p14="http://schemas.microsoft.com/office/powerpoint/2010/main" val="2847596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53244D96-56D4-624C-9FD7-1E1AAE150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18097" y="-1"/>
            <a:ext cx="7025904" cy="514350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17C1FA3-7130-AB49-90DF-8A2A3791EC9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571750"/>
            <a:ext cx="2984500" cy="2590800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A569542-21FC-7C4B-9807-5A20A0ABDA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18416" y="1293094"/>
            <a:ext cx="3649662" cy="2089150"/>
          </a:xfrm>
          <a:prstGeom prst="rect">
            <a:avLst/>
          </a:prstGeom>
        </p:spPr>
        <p:txBody>
          <a:bodyPr/>
          <a:lstStyle>
            <a:lvl1pPr>
              <a:defRPr sz="2400" b="0" i="0">
                <a:latin typeface="Sun Life Sans Light" panose="02000503000000020004" pitchFamily="2" charset="77"/>
              </a:defRPr>
            </a:lvl1pPr>
            <a:lvl2pPr>
              <a:defRPr sz="2400" b="0" i="0">
                <a:latin typeface="Sun Life Sans Light" panose="02000503000000020004" pitchFamily="2" charset="77"/>
              </a:defRPr>
            </a:lvl2pPr>
            <a:lvl3pPr>
              <a:defRPr sz="2400" b="0" i="0">
                <a:latin typeface="Sun Life Sans Light" panose="02000503000000020004" pitchFamily="2" charset="77"/>
              </a:defRPr>
            </a:lvl3pPr>
            <a:lvl4pPr>
              <a:defRPr sz="2400" b="0" i="0">
                <a:latin typeface="Sun Life Sans Light" panose="02000503000000020004" pitchFamily="2" charset="77"/>
              </a:defRPr>
            </a:lvl4pPr>
            <a:lvl5pPr>
              <a:defRPr sz="2400" b="0" i="0">
                <a:latin typeface="Sun Life Sans Light" panose="02000503000000020004" pitchFamily="2" charset="77"/>
              </a:defRPr>
            </a:lvl5pPr>
          </a:lstStyle>
          <a:p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Duis sit </a:t>
            </a:r>
            <a:r>
              <a:rPr lang="en-US" sz="2400" b="0" i="0" err="1">
                <a:solidFill>
                  <a:srgbClr val="003946"/>
                </a:solidFill>
                <a:latin typeface="Sun Life Sans Light" panose="02000503000000020004" pitchFamily="2" charset="77"/>
              </a:rPr>
              <a:t>amet</a:t>
            </a:r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 pulvinar </a:t>
            </a:r>
            <a:r>
              <a:rPr lang="en-US" sz="2400" b="0" i="0" err="1">
                <a:solidFill>
                  <a:srgbClr val="003946"/>
                </a:solidFill>
                <a:latin typeface="Sun Life Sans Light" panose="02000503000000020004" pitchFamily="2" charset="77"/>
              </a:rPr>
              <a:t>odio</a:t>
            </a:r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 sed </a:t>
            </a:r>
            <a:r>
              <a:rPr lang="en-US" sz="2400" b="0" i="0" err="1">
                <a:solidFill>
                  <a:srgbClr val="003946"/>
                </a:solidFill>
                <a:latin typeface="Sun Life Sans Light" panose="02000503000000020004" pitchFamily="2" charset="77"/>
              </a:rPr>
              <a:t>commodo</a:t>
            </a:r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 </a:t>
            </a:r>
            <a:r>
              <a:rPr lang="en-US" sz="2400" b="0" i="0" err="1">
                <a:solidFill>
                  <a:srgbClr val="003946"/>
                </a:solidFill>
                <a:latin typeface="Sun Life Sans Light" panose="02000503000000020004" pitchFamily="2" charset="77"/>
              </a:rPr>
              <a:t>neque</a:t>
            </a:r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 </a:t>
            </a:r>
            <a:r>
              <a:rPr lang="en-US" sz="2400" b="0" i="0" err="1">
                <a:solidFill>
                  <a:srgbClr val="003946"/>
                </a:solidFill>
                <a:latin typeface="Sun Life Sans Light" panose="02000503000000020004" pitchFamily="2" charset="77"/>
              </a:rPr>
              <a:t>aliquam</a:t>
            </a:r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 eta vestibulum lorem.</a:t>
            </a:r>
          </a:p>
        </p:txBody>
      </p:sp>
    </p:spTree>
    <p:extLst>
      <p:ext uri="{BB962C8B-B14F-4D97-AF65-F5344CB8AC3E}">
        <p14:creationId xmlns:p14="http://schemas.microsoft.com/office/powerpoint/2010/main" val="13910068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53244D96-56D4-624C-9FD7-1E1AAE150E6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7025904" cy="514350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17C1FA3-7130-AB49-90DF-8A2A3791EC9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571750"/>
            <a:ext cx="2984500" cy="2590800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A569542-21FC-7C4B-9807-5A20A0ABDA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19775" y="1293094"/>
            <a:ext cx="3649662" cy="2089150"/>
          </a:xfrm>
          <a:prstGeom prst="rect">
            <a:avLst/>
          </a:prstGeom>
        </p:spPr>
        <p:txBody>
          <a:bodyPr/>
          <a:lstStyle>
            <a:lvl1pPr>
              <a:defRPr sz="2400" b="0" i="0">
                <a:latin typeface="Sun Life Sans Light" panose="02000503000000020004" pitchFamily="2" charset="77"/>
              </a:defRPr>
            </a:lvl1pPr>
            <a:lvl2pPr>
              <a:defRPr sz="2400" b="0" i="0">
                <a:latin typeface="Sun Life Sans Light" panose="02000503000000020004" pitchFamily="2" charset="77"/>
              </a:defRPr>
            </a:lvl2pPr>
            <a:lvl3pPr>
              <a:defRPr sz="2400" b="0" i="0">
                <a:latin typeface="Sun Life Sans Light" panose="02000503000000020004" pitchFamily="2" charset="77"/>
              </a:defRPr>
            </a:lvl3pPr>
            <a:lvl4pPr>
              <a:defRPr sz="2400" b="0" i="0">
                <a:latin typeface="Sun Life Sans Light" panose="02000503000000020004" pitchFamily="2" charset="77"/>
              </a:defRPr>
            </a:lvl4pPr>
            <a:lvl5pPr>
              <a:defRPr sz="2400" b="0" i="0">
                <a:latin typeface="Sun Life Sans Light" panose="02000503000000020004" pitchFamily="2" charset="77"/>
              </a:defRPr>
            </a:lvl5pPr>
          </a:lstStyle>
          <a:p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Duis sit </a:t>
            </a:r>
            <a:r>
              <a:rPr lang="en-US" sz="2400" b="0" i="0" err="1">
                <a:solidFill>
                  <a:srgbClr val="003946"/>
                </a:solidFill>
                <a:latin typeface="Sun Life Sans Light" panose="02000503000000020004" pitchFamily="2" charset="77"/>
              </a:rPr>
              <a:t>amet</a:t>
            </a:r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 pulvinar </a:t>
            </a:r>
            <a:r>
              <a:rPr lang="en-US" sz="2400" b="0" i="0" err="1">
                <a:solidFill>
                  <a:srgbClr val="003946"/>
                </a:solidFill>
                <a:latin typeface="Sun Life Sans Light" panose="02000503000000020004" pitchFamily="2" charset="77"/>
              </a:rPr>
              <a:t>odio</a:t>
            </a:r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 sed </a:t>
            </a:r>
            <a:r>
              <a:rPr lang="en-US" sz="2400" b="0" i="0" err="1">
                <a:solidFill>
                  <a:srgbClr val="003946"/>
                </a:solidFill>
                <a:latin typeface="Sun Life Sans Light" panose="02000503000000020004" pitchFamily="2" charset="77"/>
              </a:rPr>
              <a:t>commodo</a:t>
            </a:r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 </a:t>
            </a:r>
            <a:r>
              <a:rPr lang="en-US" sz="2400" b="0" i="0" err="1">
                <a:solidFill>
                  <a:srgbClr val="003946"/>
                </a:solidFill>
                <a:latin typeface="Sun Life Sans Light" panose="02000503000000020004" pitchFamily="2" charset="77"/>
              </a:rPr>
              <a:t>neque</a:t>
            </a:r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 </a:t>
            </a:r>
            <a:r>
              <a:rPr lang="en-US" sz="2400" b="0" i="0" err="1">
                <a:solidFill>
                  <a:srgbClr val="003946"/>
                </a:solidFill>
                <a:latin typeface="Sun Life Sans Light" panose="02000503000000020004" pitchFamily="2" charset="77"/>
              </a:rPr>
              <a:t>aliquam</a:t>
            </a:r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 eta vestibulum lorem.</a:t>
            </a:r>
          </a:p>
        </p:txBody>
      </p:sp>
    </p:spTree>
    <p:extLst>
      <p:ext uri="{BB962C8B-B14F-4D97-AF65-F5344CB8AC3E}">
        <p14:creationId xmlns:p14="http://schemas.microsoft.com/office/powerpoint/2010/main" val="24286731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53244D96-56D4-624C-9FD7-1E1AAE150E6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2118097" y="-1"/>
            <a:ext cx="7025904" cy="514350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17C1FA3-7130-AB49-90DF-8A2A3791EC9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571750"/>
            <a:ext cx="2984500" cy="2590800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A569542-21FC-7C4B-9807-5A20A0ABDA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18416" y="1293094"/>
            <a:ext cx="3649662" cy="2089150"/>
          </a:xfrm>
          <a:prstGeom prst="rect">
            <a:avLst/>
          </a:prstGeom>
        </p:spPr>
        <p:txBody>
          <a:bodyPr/>
          <a:lstStyle>
            <a:lvl1pPr>
              <a:defRPr sz="2400" b="0" i="0">
                <a:latin typeface="Sun Life Sans Light" panose="02000503000000020004" pitchFamily="2" charset="77"/>
              </a:defRPr>
            </a:lvl1pPr>
            <a:lvl2pPr>
              <a:defRPr sz="2400" b="0" i="0">
                <a:latin typeface="Sun Life Sans Light" panose="02000503000000020004" pitchFamily="2" charset="77"/>
              </a:defRPr>
            </a:lvl2pPr>
            <a:lvl3pPr>
              <a:defRPr sz="2400" b="0" i="0">
                <a:latin typeface="Sun Life Sans Light" panose="02000503000000020004" pitchFamily="2" charset="77"/>
              </a:defRPr>
            </a:lvl3pPr>
            <a:lvl4pPr>
              <a:defRPr sz="2400" b="0" i="0">
                <a:latin typeface="Sun Life Sans Light" panose="02000503000000020004" pitchFamily="2" charset="77"/>
              </a:defRPr>
            </a:lvl4pPr>
            <a:lvl5pPr>
              <a:defRPr sz="2400" b="0" i="0">
                <a:latin typeface="Sun Life Sans Light" panose="02000503000000020004" pitchFamily="2" charset="77"/>
              </a:defRPr>
            </a:lvl5pPr>
          </a:lstStyle>
          <a:p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Duis sit </a:t>
            </a:r>
            <a:r>
              <a:rPr lang="en-US" sz="2400" b="0" i="0" err="1">
                <a:solidFill>
                  <a:srgbClr val="003946"/>
                </a:solidFill>
                <a:latin typeface="Sun Life Sans Light" panose="02000503000000020004" pitchFamily="2" charset="77"/>
              </a:rPr>
              <a:t>amet</a:t>
            </a:r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 pulvinar </a:t>
            </a:r>
            <a:r>
              <a:rPr lang="en-US" sz="2400" b="0" i="0" err="1">
                <a:solidFill>
                  <a:srgbClr val="003946"/>
                </a:solidFill>
                <a:latin typeface="Sun Life Sans Light" panose="02000503000000020004" pitchFamily="2" charset="77"/>
              </a:rPr>
              <a:t>odio</a:t>
            </a:r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 sed </a:t>
            </a:r>
            <a:r>
              <a:rPr lang="en-US" sz="2400" b="0" i="0" err="1">
                <a:solidFill>
                  <a:srgbClr val="003946"/>
                </a:solidFill>
                <a:latin typeface="Sun Life Sans Light" panose="02000503000000020004" pitchFamily="2" charset="77"/>
              </a:rPr>
              <a:t>commodo</a:t>
            </a:r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 </a:t>
            </a:r>
            <a:r>
              <a:rPr lang="en-US" sz="2400" b="0" i="0" err="1">
                <a:solidFill>
                  <a:srgbClr val="003946"/>
                </a:solidFill>
                <a:latin typeface="Sun Life Sans Light" panose="02000503000000020004" pitchFamily="2" charset="77"/>
              </a:rPr>
              <a:t>neque</a:t>
            </a:r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 </a:t>
            </a:r>
            <a:r>
              <a:rPr lang="en-US" sz="2400" b="0" i="0" err="1">
                <a:solidFill>
                  <a:srgbClr val="003946"/>
                </a:solidFill>
                <a:latin typeface="Sun Life Sans Light" panose="02000503000000020004" pitchFamily="2" charset="77"/>
              </a:rPr>
              <a:t>aliquam</a:t>
            </a:r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 eta vestibulum lorem.</a:t>
            </a:r>
          </a:p>
        </p:txBody>
      </p:sp>
    </p:spTree>
    <p:extLst>
      <p:ext uri="{BB962C8B-B14F-4D97-AF65-F5344CB8AC3E}">
        <p14:creationId xmlns:p14="http://schemas.microsoft.com/office/powerpoint/2010/main" val="26227923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53244D96-56D4-624C-9FD7-1E1AAE150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070651" y="-1576"/>
            <a:ext cx="5073349" cy="514350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17C1FA3-7130-AB49-90DF-8A2A3791EC9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571750"/>
            <a:ext cx="2984500" cy="2590800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A569542-21FC-7C4B-9807-5A20A0ABDA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18416" y="1293094"/>
            <a:ext cx="3649662" cy="2089150"/>
          </a:xfrm>
          <a:prstGeom prst="rect">
            <a:avLst/>
          </a:prstGeom>
        </p:spPr>
        <p:txBody>
          <a:bodyPr/>
          <a:lstStyle>
            <a:lvl1pPr>
              <a:defRPr sz="2400" b="0" i="0">
                <a:latin typeface="Sun Life Sans Light" panose="02000503000000020004" pitchFamily="2" charset="77"/>
              </a:defRPr>
            </a:lvl1pPr>
            <a:lvl2pPr>
              <a:defRPr sz="2400" b="0" i="0">
                <a:latin typeface="Sun Life Sans Light" panose="02000503000000020004" pitchFamily="2" charset="77"/>
              </a:defRPr>
            </a:lvl2pPr>
            <a:lvl3pPr>
              <a:defRPr sz="2400" b="0" i="0">
                <a:latin typeface="Sun Life Sans Light" panose="02000503000000020004" pitchFamily="2" charset="77"/>
              </a:defRPr>
            </a:lvl3pPr>
            <a:lvl4pPr>
              <a:defRPr sz="2400" b="0" i="0">
                <a:latin typeface="Sun Life Sans Light" panose="02000503000000020004" pitchFamily="2" charset="77"/>
              </a:defRPr>
            </a:lvl4pPr>
            <a:lvl5pPr>
              <a:defRPr sz="2400" b="0" i="0">
                <a:latin typeface="Sun Life Sans Light" panose="02000503000000020004" pitchFamily="2" charset="77"/>
              </a:defRPr>
            </a:lvl5pPr>
          </a:lstStyle>
          <a:p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Duis sit </a:t>
            </a:r>
            <a:r>
              <a:rPr lang="en-US" sz="2400" b="0" i="0" err="1">
                <a:solidFill>
                  <a:srgbClr val="003946"/>
                </a:solidFill>
                <a:latin typeface="Sun Life Sans Light" panose="02000503000000020004" pitchFamily="2" charset="77"/>
              </a:rPr>
              <a:t>amet</a:t>
            </a:r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 pulvinar </a:t>
            </a:r>
            <a:r>
              <a:rPr lang="en-US" sz="2400" b="0" i="0" err="1">
                <a:solidFill>
                  <a:srgbClr val="003946"/>
                </a:solidFill>
                <a:latin typeface="Sun Life Sans Light" panose="02000503000000020004" pitchFamily="2" charset="77"/>
              </a:rPr>
              <a:t>odio</a:t>
            </a:r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 sed </a:t>
            </a:r>
            <a:r>
              <a:rPr lang="en-US" sz="2400" b="0" i="0" err="1">
                <a:solidFill>
                  <a:srgbClr val="003946"/>
                </a:solidFill>
                <a:latin typeface="Sun Life Sans Light" panose="02000503000000020004" pitchFamily="2" charset="77"/>
              </a:rPr>
              <a:t>commodo</a:t>
            </a:r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 </a:t>
            </a:r>
            <a:r>
              <a:rPr lang="en-US" sz="2400" b="0" i="0" err="1">
                <a:solidFill>
                  <a:srgbClr val="003946"/>
                </a:solidFill>
                <a:latin typeface="Sun Life Sans Light" panose="02000503000000020004" pitchFamily="2" charset="77"/>
              </a:rPr>
              <a:t>neque</a:t>
            </a:r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 </a:t>
            </a:r>
            <a:r>
              <a:rPr lang="en-US" sz="2400" b="0" i="0" err="1">
                <a:solidFill>
                  <a:srgbClr val="003946"/>
                </a:solidFill>
                <a:latin typeface="Sun Life Sans Light" panose="02000503000000020004" pitchFamily="2" charset="77"/>
              </a:rPr>
              <a:t>aliquam</a:t>
            </a:r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 eta vestibulum lorem.</a:t>
            </a:r>
          </a:p>
        </p:txBody>
      </p:sp>
    </p:spTree>
    <p:extLst>
      <p:ext uri="{BB962C8B-B14F-4D97-AF65-F5344CB8AC3E}">
        <p14:creationId xmlns:p14="http://schemas.microsoft.com/office/powerpoint/2010/main" val="217024069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21580F0-7767-FA46-9B61-C04C7AF7D9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6489138" cy="51435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17C1FA3-7130-AB49-90DF-8A2A3791EC9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159500" y="2571750"/>
            <a:ext cx="2984500" cy="2590800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A569542-21FC-7C4B-9807-5A20A0ABDA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73238" y="1121215"/>
            <a:ext cx="3649662" cy="2089150"/>
          </a:xfrm>
          <a:prstGeom prst="rect">
            <a:avLst/>
          </a:prstGeom>
        </p:spPr>
        <p:txBody>
          <a:bodyPr/>
          <a:lstStyle>
            <a:lvl1pPr>
              <a:defRPr sz="2400" b="0" i="0">
                <a:latin typeface="Sun Life Sans Light" panose="02000503000000020004" pitchFamily="2" charset="77"/>
              </a:defRPr>
            </a:lvl1pPr>
            <a:lvl2pPr>
              <a:defRPr sz="2400" b="0" i="0">
                <a:latin typeface="Sun Life Sans Light" panose="02000503000000020004" pitchFamily="2" charset="77"/>
              </a:defRPr>
            </a:lvl2pPr>
            <a:lvl3pPr>
              <a:defRPr sz="2400" b="0" i="0">
                <a:latin typeface="Sun Life Sans Light" panose="02000503000000020004" pitchFamily="2" charset="77"/>
              </a:defRPr>
            </a:lvl3pPr>
            <a:lvl4pPr>
              <a:defRPr sz="2400" b="0" i="0">
                <a:latin typeface="Sun Life Sans Light" panose="02000503000000020004" pitchFamily="2" charset="77"/>
              </a:defRPr>
            </a:lvl4pPr>
            <a:lvl5pPr>
              <a:defRPr sz="2400" b="0" i="0">
                <a:latin typeface="Sun Life Sans Light" panose="02000503000000020004" pitchFamily="2" charset="77"/>
              </a:defRPr>
            </a:lvl5pPr>
          </a:lstStyle>
          <a:p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Duis sit </a:t>
            </a:r>
            <a:r>
              <a:rPr lang="en-US" sz="2400" b="0" i="0" err="1">
                <a:solidFill>
                  <a:srgbClr val="003946"/>
                </a:solidFill>
                <a:latin typeface="Sun Life Sans Light" panose="02000503000000020004" pitchFamily="2" charset="77"/>
              </a:rPr>
              <a:t>amet</a:t>
            </a:r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 pulvinar </a:t>
            </a:r>
            <a:r>
              <a:rPr lang="en-US" sz="2400" b="0" i="0" err="1">
                <a:solidFill>
                  <a:srgbClr val="003946"/>
                </a:solidFill>
                <a:latin typeface="Sun Life Sans Light" panose="02000503000000020004" pitchFamily="2" charset="77"/>
              </a:rPr>
              <a:t>odio</a:t>
            </a:r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 sed </a:t>
            </a:r>
            <a:r>
              <a:rPr lang="en-US" sz="2400" b="0" i="0" err="1">
                <a:solidFill>
                  <a:srgbClr val="003946"/>
                </a:solidFill>
                <a:latin typeface="Sun Life Sans Light" panose="02000503000000020004" pitchFamily="2" charset="77"/>
              </a:rPr>
              <a:t>commodo</a:t>
            </a:r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 </a:t>
            </a:r>
            <a:r>
              <a:rPr lang="en-US" sz="2400" b="0" i="0" err="1">
                <a:solidFill>
                  <a:srgbClr val="003946"/>
                </a:solidFill>
                <a:latin typeface="Sun Life Sans Light" panose="02000503000000020004" pitchFamily="2" charset="77"/>
              </a:rPr>
              <a:t>neque</a:t>
            </a:r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 </a:t>
            </a:r>
            <a:r>
              <a:rPr lang="en-US" sz="2400" b="0" i="0" err="1">
                <a:solidFill>
                  <a:srgbClr val="003946"/>
                </a:solidFill>
                <a:latin typeface="Sun Life Sans Light" panose="02000503000000020004" pitchFamily="2" charset="77"/>
              </a:rPr>
              <a:t>aliquam</a:t>
            </a:r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 eta vestibulum lorem.</a:t>
            </a:r>
          </a:p>
        </p:txBody>
      </p:sp>
    </p:spTree>
    <p:extLst>
      <p:ext uri="{BB962C8B-B14F-4D97-AF65-F5344CB8AC3E}">
        <p14:creationId xmlns:p14="http://schemas.microsoft.com/office/powerpoint/2010/main" val="35613848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working on a computer&#10;&#10;Description automatically generated with medium confidence">
            <a:extLst>
              <a:ext uri="{FF2B5EF4-FFF2-40B4-BE49-F238E27FC236}">
                <a16:creationId xmlns:a16="http://schemas.microsoft.com/office/drawing/2014/main" id="{3205EFC7-9E5F-DC4A-9C8F-E8AD5604ED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6793974" cy="51435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17C1FA3-7130-AB49-90DF-8A2A3791EC9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571750"/>
            <a:ext cx="2984500" cy="2590800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A569542-21FC-7C4B-9807-5A20A0ABDA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41986" y="908083"/>
            <a:ext cx="2824815" cy="3196403"/>
          </a:xfrm>
          <a:prstGeom prst="rect">
            <a:avLst/>
          </a:prstGeom>
        </p:spPr>
        <p:txBody>
          <a:bodyPr/>
          <a:lstStyle>
            <a:lvl1pPr>
              <a:defRPr sz="2400" b="0" i="0">
                <a:latin typeface="Sun Life Sans Light" panose="02000503000000020004" pitchFamily="2" charset="77"/>
              </a:defRPr>
            </a:lvl1pPr>
            <a:lvl2pPr>
              <a:defRPr sz="2400" b="0" i="0">
                <a:latin typeface="Sun Life Sans Light" panose="02000503000000020004" pitchFamily="2" charset="77"/>
              </a:defRPr>
            </a:lvl2pPr>
            <a:lvl3pPr>
              <a:defRPr sz="2400" b="0" i="0">
                <a:latin typeface="Sun Life Sans Light" panose="02000503000000020004" pitchFamily="2" charset="77"/>
              </a:defRPr>
            </a:lvl3pPr>
            <a:lvl4pPr>
              <a:defRPr sz="2400" b="0" i="0">
                <a:latin typeface="Sun Life Sans Light" panose="02000503000000020004" pitchFamily="2" charset="77"/>
              </a:defRPr>
            </a:lvl4pPr>
            <a:lvl5pPr>
              <a:defRPr sz="2400" b="0" i="0">
                <a:latin typeface="Sun Life Sans Light" panose="02000503000000020004" pitchFamily="2" charset="77"/>
              </a:defRPr>
            </a:lvl5pPr>
          </a:lstStyle>
          <a:p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Duis sit </a:t>
            </a:r>
            <a:r>
              <a:rPr lang="en-US" sz="2400" b="0" i="0" err="1">
                <a:solidFill>
                  <a:srgbClr val="003946"/>
                </a:solidFill>
                <a:latin typeface="Sun Life Sans Light" panose="02000503000000020004" pitchFamily="2" charset="77"/>
              </a:rPr>
              <a:t>amet</a:t>
            </a:r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 pulvinar </a:t>
            </a:r>
            <a:r>
              <a:rPr lang="en-US" sz="2400" b="0" i="0" err="1">
                <a:solidFill>
                  <a:srgbClr val="003946"/>
                </a:solidFill>
                <a:latin typeface="Sun Life Sans Light" panose="02000503000000020004" pitchFamily="2" charset="77"/>
              </a:rPr>
              <a:t>odio</a:t>
            </a:r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 sed </a:t>
            </a:r>
            <a:r>
              <a:rPr lang="en-US" sz="2400" b="0" i="0" err="1">
                <a:solidFill>
                  <a:srgbClr val="003946"/>
                </a:solidFill>
                <a:latin typeface="Sun Life Sans Light" panose="02000503000000020004" pitchFamily="2" charset="77"/>
              </a:rPr>
              <a:t>commodo</a:t>
            </a:r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 </a:t>
            </a:r>
            <a:r>
              <a:rPr lang="en-US" sz="2400" b="0" i="0" err="1">
                <a:solidFill>
                  <a:srgbClr val="003946"/>
                </a:solidFill>
                <a:latin typeface="Sun Life Sans Light" panose="02000503000000020004" pitchFamily="2" charset="77"/>
              </a:rPr>
              <a:t>neque</a:t>
            </a:r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 </a:t>
            </a:r>
            <a:r>
              <a:rPr lang="en-US" sz="2400" b="0" i="0" err="1">
                <a:solidFill>
                  <a:srgbClr val="003946"/>
                </a:solidFill>
                <a:latin typeface="Sun Life Sans Light" panose="02000503000000020004" pitchFamily="2" charset="77"/>
              </a:rPr>
              <a:t>aliquam</a:t>
            </a:r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 eta vestibulum lorem.</a:t>
            </a:r>
          </a:p>
        </p:txBody>
      </p:sp>
    </p:spTree>
    <p:extLst>
      <p:ext uri="{BB962C8B-B14F-4D97-AF65-F5344CB8AC3E}">
        <p14:creationId xmlns:p14="http://schemas.microsoft.com/office/powerpoint/2010/main" val="20891545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-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83FA58B8-D79A-4B4B-8520-450E9C3640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751700" y="-1"/>
            <a:ext cx="7392300" cy="5143501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062A2406-A758-AB47-A6D4-DDACFFBBB3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2099" y="1388673"/>
            <a:ext cx="4179902" cy="980063"/>
          </a:xfrm>
          <a:prstGeom prst="rect">
            <a:avLst/>
          </a:prstGeom>
        </p:spPr>
        <p:txBody>
          <a:bodyPr/>
          <a:lstStyle>
            <a:lvl1pPr>
              <a:lnSpc>
                <a:spcPts val="3800"/>
              </a:lnSpc>
              <a:spcBef>
                <a:spcPts val="0"/>
              </a:spcBef>
              <a:defRPr sz="3600" b="0" i="0">
                <a:solidFill>
                  <a:srgbClr val="003946"/>
                </a:solidFill>
                <a:latin typeface="Sun Life Sans Light" panose="02000503000000020004" pitchFamily="2" charset="77"/>
                <a:cs typeface="Calibri"/>
              </a:defRPr>
            </a:lvl1pPr>
          </a:lstStyle>
          <a:p>
            <a:r>
              <a:rPr lang="en-CA"/>
              <a:t>Presentation title </a:t>
            </a:r>
            <a:br>
              <a:rPr lang="en-CA"/>
            </a:br>
            <a:r>
              <a:rPr lang="en-CA"/>
              <a:t>is written here</a:t>
            </a:r>
            <a:endParaRPr lang="en-US"/>
          </a:p>
        </p:txBody>
      </p:sp>
      <p:sp>
        <p:nvSpPr>
          <p:cNvPr id="12" name="Content Placeholder 24">
            <a:extLst>
              <a:ext uri="{FF2B5EF4-FFF2-40B4-BE49-F238E27FC236}">
                <a16:creationId xmlns:a16="http://schemas.microsoft.com/office/drawing/2014/main" id="{F12D5491-F407-E748-9126-E6A9FDCAE92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96707" y="3183428"/>
            <a:ext cx="1755775" cy="2783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>
                <a:latin typeface="Sun Life Sans Regular" panose="02000503000000020004" pitchFamily="2" charset="77"/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CA"/>
              <a:t>Month, 20XX</a:t>
            </a: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58ADEE15-8D4A-7E4E-B953-A2A6EDE31B6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485" y="4143087"/>
            <a:ext cx="1589943" cy="6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057748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B5EB34E-678E-A64B-A3F9-DAC4E1A194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28893" y="0"/>
            <a:ext cx="4715107" cy="338224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0DBA0E6-01E5-634D-ABCA-604CFC7373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775"/>
          <a:stretch/>
        </p:blipFill>
        <p:spPr>
          <a:xfrm>
            <a:off x="0" y="0"/>
            <a:ext cx="8820588" cy="51435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1367F12-A0E1-FD47-88F5-041934B31D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98577" y="3105592"/>
            <a:ext cx="4545423" cy="2037908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A07619-AB4B-9842-A203-25BD5AF804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7138" y="1293094"/>
            <a:ext cx="3649662" cy="2089150"/>
          </a:xfrm>
          <a:prstGeom prst="rect">
            <a:avLst/>
          </a:prstGeom>
        </p:spPr>
        <p:txBody>
          <a:bodyPr/>
          <a:lstStyle>
            <a:lvl1pPr>
              <a:defRPr sz="2400" b="0" i="0">
                <a:latin typeface="Sun Life Sans Light" panose="02000503000000020004" pitchFamily="2" charset="77"/>
              </a:defRPr>
            </a:lvl1pPr>
            <a:lvl2pPr>
              <a:defRPr sz="2400" b="0" i="0">
                <a:latin typeface="Sun Life Sans Light" panose="02000503000000020004" pitchFamily="2" charset="77"/>
              </a:defRPr>
            </a:lvl2pPr>
            <a:lvl3pPr>
              <a:defRPr sz="2400" b="0" i="0">
                <a:latin typeface="Sun Life Sans Light" panose="02000503000000020004" pitchFamily="2" charset="77"/>
              </a:defRPr>
            </a:lvl3pPr>
            <a:lvl4pPr>
              <a:defRPr sz="2400" b="0" i="0">
                <a:latin typeface="Sun Life Sans Light" panose="02000503000000020004" pitchFamily="2" charset="77"/>
              </a:defRPr>
            </a:lvl4pPr>
            <a:lvl5pPr>
              <a:defRPr sz="2400" b="0" i="0">
                <a:latin typeface="Sun Life Sans Light" panose="02000503000000020004" pitchFamily="2" charset="77"/>
              </a:defRPr>
            </a:lvl5pPr>
          </a:lstStyle>
          <a:p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Duis sit </a:t>
            </a:r>
            <a:r>
              <a:rPr lang="en-US" sz="2400" b="0" i="0" err="1">
                <a:solidFill>
                  <a:srgbClr val="003946"/>
                </a:solidFill>
                <a:latin typeface="Sun Life Sans Light" panose="02000503000000020004" pitchFamily="2" charset="77"/>
              </a:rPr>
              <a:t>amet</a:t>
            </a:r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 pulvinar </a:t>
            </a:r>
            <a:r>
              <a:rPr lang="en-US" sz="2400" b="0" i="0" err="1">
                <a:solidFill>
                  <a:srgbClr val="003946"/>
                </a:solidFill>
                <a:latin typeface="Sun Life Sans Light" panose="02000503000000020004" pitchFamily="2" charset="77"/>
              </a:rPr>
              <a:t>odio</a:t>
            </a:r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 sed </a:t>
            </a:r>
            <a:r>
              <a:rPr lang="en-US" sz="2400" b="0" i="0" err="1">
                <a:solidFill>
                  <a:srgbClr val="003946"/>
                </a:solidFill>
                <a:latin typeface="Sun Life Sans Light" panose="02000503000000020004" pitchFamily="2" charset="77"/>
              </a:rPr>
              <a:t>commodo</a:t>
            </a:r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 </a:t>
            </a:r>
            <a:r>
              <a:rPr lang="en-US" sz="2400" b="0" i="0" err="1">
                <a:solidFill>
                  <a:srgbClr val="003946"/>
                </a:solidFill>
                <a:latin typeface="Sun Life Sans Light" panose="02000503000000020004" pitchFamily="2" charset="77"/>
              </a:rPr>
              <a:t>neque</a:t>
            </a:r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 </a:t>
            </a:r>
            <a:r>
              <a:rPr lang="en-US" sz="2400" b="0" i="0" err="1">
                <a:solidFill>
                  <a:srgbClr val="003946"/>
                </a:solidFill>
                <a:latin typeface="Sun Life Sans Light" panose="02000503000000020004" pitchFamily="2" charset="77"/>
              </a:rPr>
              <a:t>aliquam</a:t>
            </a:r>
            <a:r>
              <a:rPr lang="en-US" sz="2400" b="0" i="0">
                <a:solidFill>
                  <a:srgbClr val="003946"/>
                </a:solidFill>
                <a:latin typeface="Sun Life Sans Light" panose="02000503000000020004" pitchFamily="2" charset="77"/>
              </a:rPr>
              <a:t> eta vestibulum lorem.</a:t>
            </a:r>
          </a:p>
        </p:txBody>
      </p:sp>
    </p:spTree>
    <p:extLst>
      <p:ext uri="{BB962C8B-B14F-4D97-AF65-F5344CB8AC3E}">
        <p14:creationId xmlns:p14="http://schemas.microsoft.com/office/powerpoint/2010/main" val="396996933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3F06699-F1CB-5542-BA89-C1F4C561AC30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394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EFC31C0-83CB-554F-B1C3-E5974EF5AE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804247"/>
            <a:ext cx="9144000" cy="2384288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977A507-8274-FE48-B512-329AA925C95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642288" y="1338263"/>
            <a:ext cx="3703637" cy="2058987"/>
          </a:xfrm>
          <a:prstGeom prst="rect">
            <a:avLst/>
          </a:prstGeom>
        </p:spPr>
        <p:txBody>
          <a:bodyPr/>
          <a:lstStyle>
            <a:lvl1pPr>
              <a:defRPr sz="2400" b="0" i="0">
                <a:solidFill>
                  <a:schemeClr val="bg1"/>
                </a:solidFill>
                <a:latin typeface="Sun Life Sans Light" panose="02000503000000020004" pitchFamily="2" charset="77"/>
              </a:defRPr>
            </a:lvl1pPr>
            <a:lvl2pPr>
              <a:defRPr sz="2400" b="0" i="0">
                <a:latin typeface="Sun Life Sans Light" panose="02000503000000020004" pitchFamily="2" charset="77"/>
              </a:defRPr>
            </a:lvl2pPr>
            <a:lvl3pPr>
              <a:defRPr sz="2400" b="0" i="0">
                <a:latin typeface="Sun Life Sans Light" panose="02000503000000020004" pitchFamily="2" charset="77"/>
              </a:defRPr>
            </a:lvl3pPr>
            <a:lvl4pPr>
              <a:defRPr sz="2400" b="0" i="0">
                <a:latin typeface="Sun Life Sans Light" panose="02000503000000020004" pitchFamily="2" charset="77"/>
              </a:defRPr>
            </a:lvl4pPr>
            <a:lvl5pPr>
              <a:defRPr sz="2400" b="0" i="0">
                <a:latin typeface="Sun Life Sans Light" panose="02000503000000020004" pitchFamily="2" charset="77"/>
              </a:defRPr>
            </a:lvl5pPr>
          </a:lstStyle>
          <a:p>
            <a:r>
              <a:rPr lang="en-US" sz="2400" b="0" i="0">
                <a:solidFill>
                  <a:schemeClr val="bg1"/>
                </a:solidFill>
                <a:latin typeface="Sun Life Sans Light" panose="02000503000000020004" pitchFamily="2" charset="77"/>
              </a:rPr>
              <a:t>Duis sit </a:t>
            </a:r>
            <a:r>
              <a:rPr lang="en-US" sz="2400" b="0" i="0" err="1">
                <a:solidFill>
                  <a:schemeClr val="bg1"/>
                </a:solidFill>
                <a:latin typeface="Sun Life Sans Light" panose="02000503000000020004" pitchFamily="2" charset="77"/>
              </a:rPr>
              <a:t>amet</a:t>
            </a:r>
            <a:r>
              <a:rPr lang="en-US" sz="2400" b="0" i="0">
                <a:solidFill>
                  <a:schemeClr val="bg1"/>
                </a:solidFill>
                <a:latin typeface="Sun Life Sans Light" panose="02000503000000020004" pitchFamily="2" charset="77"/>
              </a:rPr>
              <a:t> pulvinar </a:t>
            </a:r>
            <a:r>
              <a:rPr lang="en-US" sz="2400" b="0" i="0" err="1">
                <a:solidFill>
                  <a:schemeClr val="bg1"/>
                </a:solidFill>
                <a:latin typeface="Sun Life Sans Light" panose="02000503000000020004" pitchFamily="2" charset="77"/>
              </a:rPr>
              <a:t>odio</a:t>
            </a:r>
            <a:r>
              <a:rPr lang="en-US" sz="2400" b="0" i="0">
                <a:solidFill>
                  <a:schemeClr val="bg1"/>
                </a:solidFill>
                <a:latin typeface="Sun Life Sans Light" panose="02000503000000020004" pitchFamily="2" charset="77"/>
              </a:rPr>
              <a:t> sed </a:t>
            </a:r>
            <a:r>
              <a:rPr lang="en-US" sz="2400" b="0" i="0" err="1">
                <a:solidFill>
                  <a:schemeClr val="bg1"/>
                </a:solidFill>
                <a:latin typeface="Sun Life Sans Light" panose="02000503000000020004" pitchFamily="2" charset="77"/>
              </a:rPr>
              <a:t>commodo</a:t>
            </a:r>
            <a:r>
              <a:rPr lang="en-US" sz="2400" b="0" i="0">
                <a:solidFill>
                  <a:schemeClr val="bg1"/>
                </a:solidFill>
                <a:latin typeface="Sun Life Sans Light" panose="02000503000000020004" pitchFamily="2" charset="77"/>
              </a:rPr>
              <a:t> </a:t>
            </a:r>
            <a:r>
              <a:rPr lang="en-US" sz="2400" b="0" i="0" err="1">
                <a:solidFill>
                  <a:schemeClr val="bg1"/>
                </a:solidFill>
                <a:latin typeface="Sun Life Sans Light" panose="02000503000000020004" pitchFamily="2" charset="77"/>
              </a:rPr>
              <a:t>neque</a:t>
            </a:r>
            <a:r>
              <a:rPr lang="en-US" sz="2400" b="0" i="0">
                <a:solidFill>
                  <a:schemeClr val="bg1"/>
                </a:solidFill>
                <a:latin typeface="Sun Life Sans Light" panose="02000503000000020004" pitchFamily="2" charset="77"/>
              </a:rPr>
              <a:t> </a:t>
            </a:r>
            <a:r>
              <a:rPr lang="en-US" sz="2400" b="0" i="0" err="1">
                <a:solidFill>
                  <a:schemeClr val="bg1"/>
                </a:solidFill>
                <a:latin typeface="Sun Life Sans Light" panose="02000503000000020004" pitchFamily="2" charset="77"/>
              </a:rPr>
              <a:t>aliquam</a:t>
            </a:r>
            <a:r>
              <a:rPr lang="en-US" sz="2400" b="0" i="0">
                <a:solidFill>
                  <a:schemeClr val="bg1"/>
                </a:solidFill>
                <a:latin typeface="Sun Life Sans Light" panose="02000503000000020004" pitchFamily="2" charset="77"/>
              </a:rPr>
              <a:t> eta vestibulum lorem.</a:t>
            </a:r>
          </a:p>
        </p:txBody>
      </p:sp>
    </p:spTree>
    <p:extLst>
      <p:ext uri="{BB962C8B-B14F-4D97-AF65-F5344CB8AC3E}">
        <p14:creationId xmlns:p14="http://schemas.microsoft.com/office/powerpoint/2010/main" val="30637781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ACAF003-23F5-894D-B8AB-811C7811B7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26135D8-FA1C-5145-8842-E2384EB07F0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7334" y="1388673"/>
            <a:ext cx="4179902" cy="980063"/>
          </a:xfrm>
          <a:prstGeom prst="rect">
            <a:avLst/>
          </a:prstGeom>
        </p:spPr>
        <p:txBody>
          <a:bodyPr/>
          <a:lstStyle>
            <a:lvl1pPr>
              <a:lnSpc>
                <a:spcPts val="3800"/>
              </a:lnSpc>
              <a:spcBef>
                <a:spcPts val="0"/>
              </a:spcBef>
              <a:defRPr sz="3600" b="0" i="0">
                <a:solidFill>
                  <a:srgbClr val="003946"/>
                </a:solidFill>
                <a:latin typeface="Sun Life Sans Light" panose="02000503000000020004" pitchFamily="2" charset="77"/>
                <a:cs typeface="Calibri"/>
              </a:defRPr>
            </a:lvl1pPr>
          </a:lstStyle>
          <a:p>
            <a:r>
              <a:rPr lang="en-CA"/>
              <a:t>Head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781581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-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2A25372-6C13-E145-BABA-080C17A736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8052" y="0"/>
            <a:ext cx="8825947" cy="51435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D330D2A-3DB8-ED40-B5E4-6C974E83BF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23" t="1623" b="1312"/>
          <a:stretch/>
        </p:blipFill>
        <p:spPr>
          <a:xfrm>
            <a:off x="1" y="-1"/>
            <a:ext cx="5816500" cy="514350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8CC002A-938D-BB47-BCC3-20D77521794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8799" y="0"/>
            <a:ext cx="4775200" cy="4597400"/>
          </a:xfrm>
          <a:prstGeom prst="rect">
            <a:avLst/>
          </a:prstGeom>
        </p:spPr>
      </p:pic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F170D0E3-C716-0646-ABEB-92E795F66B3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380" y="2157671"/>
            <a:ext cx="1589943" cy="6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659040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-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EE2E9C6-12D5-6842-A2C9-CDF10492A1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48816" y="1"/>
            <a:ext cx="5295184" cy="51435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6D94E626-44C7-C748-8E4B-936B185A6D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23" t="1623" b="1312"/>
          <a:stretch/>
        </p:blipFill>
        <p:spPr>
          <a:xfrm>
            <a:off x="1" y="-1"/>
            <a:ext cx="5816500" cy="514350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E6F18E9-A00D-094C-AFB6-D40F5D0B499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8799" y="0"/>
            <a:ext cx="4775200" cy="4597400"/>
          </a:xfrm>
          <a:prstGeom prst="rect">
            <a:avLst/>
          </a:prstGeom>
        </p:spPr>
      </p:pic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66D98AC1-4FF4-DD4E-B4D1-ACA26903E77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380" y="2157671"/>
            <a:ext cx="1589943" cy="6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77540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-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EE2E9C6-12D5-6842-A2C9-CDF10492A1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43719" y="1"/>
            <a:ext cx="4900280" cy="51435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6D94E626-44C7-C748-8E4B-936B185A6D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23" t="1623" b="1312"/>
          <a:stretch/>
        </p:blipFill>
        <p:spPr>
          <a:xfrm>
            <a:off x="-322287" y="-1"/>
            <a:ext cx="5816500" cy="514350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E6F18E9-A00D-094C-AFB6-D40F5D0B499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8799" y="0"/>
            <a:ext cx="4775200" cy="4597400"/>
          </a:xfrm>
          <a:prstGeom prst="rect">
            <a:avLst/>
          </a:prstGeom>
        </p:spPr>
      </p:pic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129FDD09-2470-914C-99B8-356347700F4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380" y="2157671"/>
            <a:ext cx="1589943" cy="6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24349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-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EE2E9C6-12D5-6842-A2C9-CDF10492A1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3837497" y="0"/>
            <a:ext cx="5306502" cy="514350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6D94E626-44C7-C748-8E4B-936B185A6D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23" t="1623" b="1312"/>
          <a:stretch/>
        </p:blipFill>
        <p:spPr>
          <a:xfrm>
            <a:off x="-322287" y="-1"/>
            <a:ext cx="5816500" cy="514350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E6F18E9-A00D-094C-AFB6-D40F5D0B499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8799" y="0"/>
            <a:ext cx="4775200" cy="4597400"/>
          </a:xfrm>
          <a:prstGeom prst="rect">
            <a:avLst/>
          </a:prstGeom>
        </p:spPr>
      </p:pic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8A5958FF-7475-7B49-A0B4-55D6F67E133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380" y="2157671"/>
            <a:ext cx="1589943" cy="6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617319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-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743CA86-0FAA-3443-B457-BCD96DF3DE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2700"/>
            <a:ext cx="3098800" cy="5130800"/>
          </a:xfrm>
          <a:prstGeom prst="rect">
            <a:avLst/>
          </a:prstGeom>
        </p:spPr>
      </p:pic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E8B25001-883B-5C44-A1FB-181DB3D4D08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1473" y="2157671"/>
            <a:ext cx="1589943" cy="6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255254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-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606BAB0-04C1-BA4F-B48F-B900BFCA9427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>
            <a:gsLst>
              <a:gs pos="100000">
                <a:srgbClr val="EAAB00"/>
              </a:gs>
              <a:gs pos="0">
                <a:srgbClr val="FFDD00"/>
              </a:gs>
            </a:gsLst>
            <a:lin ang="54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64CB356-8966-D342-ADA5-B9F5F79B5A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6200" y="0"/>
            <a:ext cx="3987800" cy="3403600"/>
          </a:xfrm>
          <a:prstGeom prst="rect">
            <a:avLst/>
          </a:prstGeom>
        </p:spPr>
      </p:pic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372CD35A-F33E-AE4F-8EBF-0253DD8274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18777" y="468144"/>
            <a:ext cx="1589943" cy="6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862372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-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A310D28-6F6D-C44D-9F40-AA43F6D514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796"/>
            <a:ext cx="9144000" cy="514509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6E7E50D-A285-024A-8EB2-F7A3E4E8EDB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235" y="2170507"/>
            <a:ext cx="1589943" cy="6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3842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-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41">
            <a:extLst>
              <a:ext uri="{FF2B5EF4-FFF2-40B4-BE49-F238E27FC236}">
                <a16:creationId xmlns:a16="http://schemas.microsoft.com/office/drawing/2014/main" id="{CAE25089-0EC2-E048-BC50-A968BF9EC7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3504836" y="7569"/>
            <a:ext cx="5639163" cy="5129581"/>
          </a:xfrm>
          <a:prstGeom prst="rect">
            <a:avLst/>
          </a:prstGeom>
        </p:spPr>
      </p:pic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727B901D-287F-3345-B1F3-AE0B75BE222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50"/>
            <a:ext cx="5803900" cy="51308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F693C10-ACD1-3A48-A4F3-6EC4E83F424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5900" y="6350"/>
            <a:ext cx="508000" cy="5130800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11CC3774-D081-D749-8B7C-1DCC2F5A14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2099" y="1388673"/>
            <a:ext cx="4179902" cy="980063"/>
          </a:xfrm>
          <a:prstGeom prst="rect">
            <a:avLst/>
          </a:prstGeom>
        </p:spPr>
        <p:txBody>
          <a:bodyPr/>
          <a:lstStyle>
            <a:lvl1pPr>
              <a:lnSpc>
                <a:spcPts val="3800"/>
              </a:lnSpc>
              <a:spcBef>
                <a:spcPts val="0"/>
              </a:spcBef>
              <a:defRPr sz="3600" b="0" i="0">
                <a:solidFill>
                  <a:srgbClr val="003946"/>
                </a:solidFill>
                <a:latin typeface="Sun Life Sans Light" panose="02000503000000020004" pitchFamily="2" charset="77"/>
                <a:cs typeface="Calibri"/>
              </a:defRPr>
            </a:lvl1pPr>
          </a:lstStyle>
          <a:p>
            <a:r>
              <a:rPr lang="en-CA"/>
              <a:t>Presentation title </a:t>
            </a:r>
            <a:br>
              <a:rPr lang="en-CA"/>
            </a:br>
            <a:r>
              <a:rPr lang="en-CA"/>
              <a:t>is written here</a:t>
            </a:r>
            <a:endParaRPr lang="en-US"/>
          </a:p>
        </p:txBody>
      </p:sp>
      <p:sp>
        <p:nvSpPr>
          <p:cNvPr id="15" name="Content Placeholder 24">
            <a:extLst>
              <a:ext uri="{FF2B5EF4-FFF2-40B4-BE49-F238E27FC236}">
                <a16:creationId xmlns:a16="http://schemas.microsoft.com/office/drawing/2014/main" id="{6F16522E-2466-B445-B66D-884CCA241AD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96707" y="3183428"/>
            <a:ext cx="1755775" cy="2783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>
                <a:latin typeface="Sun Life Sans Regular" panose="02000503000000020004" pitchFamily="2" charset="77"/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CA"/>
              <a:t>Month, 20XX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4C2D940E-0AC0-E442-B713-2E883AAA1F3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485" y="4143087"/>
            <a:ext cx="1589943" cy="6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226194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ster Slide 08">
  <p:cSld name="Master Slide 08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4"/>
          <p:cNvSpPr/>
          <p:nvPr/>
        </p:nvSpPr>
        <p:spPr>
          <a:xfrm>
            <a:off x="0" y="1777639"/>
            <a:ext cx="9144001" cy="3365862"/>
          </a:xfrm>
          <a:custGeom>
            <a:avLst/>
            <a:gdLst/>
            <a:ahLst/>
            <a:cxnLst/>
            <a:rect l="l" t="t" r="r" b="b"/>
            <a:pathLst>
              <a:path w="21600" h="21569" extrusionOk="0">
                <a:moveTo>
                  <a:pt x="780" y="0"/>
                </a:moveTo>
                <a:cubicBezTo>
                  <a:pt x="4921" y="-31"/>
                  <a:pt x="7489" y="14196"/>
                  <a:pt x="12985" y="9542"/>
                </a:cubicBezTo>
                <a:cubicBezTo>
                  <a:pt x="17107" y="6051"/>
                  <a:pt x="18839" y="710"/>
                  <a:pt x="21303" y="1118"/>
                </a:cubicBezTo>
                <a:lnTo>
                  <a:pt x="21600" y="1195"/>
                </a:lnTo>
                <a:lnTo>
                  <a:pt x="21600" y="21569"/>
                </a:lnTo>
                <a:lnTo>
                  <a:pt x="0" y="21569"/>
                </a:lnTo>
                <a:lnTo>
                  <a:pt x="0" y="185"/>
                </a:lnTo>
                <a:lnTo>
                  <a:pt x="44" y="161"/>
                </a:lnTo>
                <a:cubicBezTo>
                  <a:pt x="277" y="58"/>
                  <a:pt x="522" y="2"/>
                  <a:pt x="780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34275" tIns="34275" rIns="34275" bIns="3427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350" i="0" u="none" strike="noStrike" cap="none">
              <a:solidFill>
                <a:srgbClr val="000000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61" name="Google Shape;61;p4"/>
          <p:cNvSpPr txBox="1">
            <a:spLocks noGrp="1"/>
          </p:cNvSpPr>
          <p:nvPr>
            <p:ph type="sldNum" idx="12"/>
          </p:nvPr>
        </p:nvSpPr>
        <p:spPr>
          <a:xfrm>
            <a:off x="8839990" y="4832124"/>
            <a:ext cx="174150" cy="4385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sp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040"/>
              </a:buClr>
              <a:buSzPts val="1000"/>
              <a:buFont typeface="Arial"/>
              <a:buNone/>
              <a:defRPr sz="750">
                <a:solidFill>
                  <a:srgbClr val="404040"/>
                </a:solidFill>
                <a:latin typeface="Poppins"/>
                <a:ea typeface="Poppins"/>
                <a:cs typeface="Poppins"/>
                <a:sym typeface="Poppins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040"/>
              </a:buClr>
              <a:buSzPts val="1000"/>
              <a:buFont typeface="Arial"/>
              <a:buNone/>
              <a:defRPr sz="750">
                <a:solidFill>
                  <a:srgbClr val="404040"/>
                </a:solidFill>
                <a:latin typeface="Poppins"/>
                <a:ea typeface="Poppins"/>
                <a:cs typeface="Poppins"/>
                <a:sym typeface="Poppins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040"/>
              </a:buClr>
              <a:buSzPts val="1000"/>
              <a:buFont typeface="Arial"/>
              <a:buNone/>
              <a:defRPr sz="750">
                <a:solidFill>
                  <a:srgbClr val="404040"/>
                </a:solidFill>
                <a:latin typeface="Poppins"/>
                <a:ea typeface="Poppins"/>
                <a:cs typeface="Poppins"/>
                <a:sym typeface="Poppins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040"/>
              </a:buClr>
              <a:buSzPts val="1000"/>
              <a:buFont typeface="Arial"/>
              <a:buNone/>
              <a:defRPr sz="750">
                <a:solidFill>
                  <a:srgbClr val="404040"/>
                </a:solidFill>
                <a:latin typeface="Poppins"/>
                <a:ea typeface="Poppins"/>
                <a:cs typeface="Poppins"/>
                <a:sym typeface="Poppins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040"/>
              </a:buClr>
              <a:buSzPts val="1000"/>
              <a:buFont typeface="Arial"/>
              <a:buNone/>
              <a:defRPr sz="750">
                <a:solidFill>
                  <a:srgbClr val="404040"/>
                </a:solidFill>
                <a:latin typeface="Poppins"/>
                <a:ea typeface="Poppins"/>
                <a:cs typeface="Poppins"/>
                <a:sym typeface="Poppins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040"/>
              </a:buClr>
              <a:buSzPts val="1000"/>
              <a:buFont typeface="Arial"/>
              <a:buNone/>
              <a:defRPr sz="750">
                <a:solidFill>
                  <a:srgbClr val="404040"/>
                </a:solidFill>
                <a:latin typeface="Poppins"/>
                <a:ea typeface="Poppins"/>
                <a:cs typeface="Poppins"/>
                <a:sym typeface="Poppins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040"/>
              </a:buClr>
              <a:buSzPts val="1000"/>
              <a:buFont typeface="Arial"/>
              <a:buNone/>
              <a:defRPr sz="750">
                <a:solidFill>
                  <a:srgbClr val="404040"/>
                </a:solidFill>
                <a:latin typeface="Poppins"/>
                <a:ea typeface="Poppins"/>
                <a:cs typeface="Poppins"/>
                <a:sym typeface="Poppins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040"/>
              </a:buClr>
              <a:buSzPts val="1000"/>
              <a:buFont typeface="Arial"/>
              <a:buNone/>
              <a:defRPr sz="750">
                <a:solidFill>
                  <a:srgbClr val="404040"/>
                </a:solidFill>
                <a:latin typeface="Poppins"/>
                <a:ea typeface="Poppins"/>
                <a:cs typeface="Poppins"/>
                <a:sym typeface="Poppins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040"/>
              </a:buClr>
              <a:buSzPts val="1000"/>
              <a:buFont typeface="Arial"/>
              <a:buNone/>
              <a:defRPr sz="750">
                <a:solidFill>
                  <a:srgbClr val="404040"/>
                </a:solidFill>
                <a:latin typeface="Poppins"/>
                <a:ea typeface="Poppins"/>
                <a:cs typeface="Poppins"/>
                <a:sym typeface="Poppin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sz="900">
              <a:solidFill>
                <a:srgbClr val="888888"/>
              </a:solidFill>
            </a:endParaRPr>
          </a:p>
        </p:txBody>
      </p:sp>
      <p:sp>
        <p:nvSpPr>
          <p:cNvPr id="63" name="Google Shape;63;p4"/>
          <p:cNvSpPr txBox="1">
            <a:spLocks noGrp="1"/>
          </p:cNvSpPr>
          <p:nvPr>
            <p:ph type="body" idx="1"/>
          </p:nvPr>
        </p:nvSpPr>
        <p:spPr>
          <a:xfrm>
            <a:off x="519723" y="3685763"/>
            <a:ext cx="3696793" cy="692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rmAutofit/>
          </a:bodyPr>
          <a:lstStyle>
            <a:lvl1pPr marL="342900" lvl="0" indent="-171450" algn="l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>
                <a:srgbClr val="404040"/>
              </a:buClr>
              <a:buSzPts val="5400"/>
              <a:buNone/>
              <a:defRPr sz="4050">
                <a:solidFill>
                  <a:srgbClr val="404040"/>
                </a:solidFill>
              </a:defRPr>
            </a:lvl1pPr>
            <a:lvl2pPr marL="685800" lvl="1" indent="-171450" algn="l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>
                <a:srgbClr val="404040"/>
              </a:buClr>
              <a:buSzPts val="5400"/>
              <a:buNone/>
              <a:defRPr sz="4050">
                <a:solidFill>
                  <a:srgbClr val="404040"/>
                </a:solidFill>
              </a:defRPr>
            </a:lvl2pPr>
            <a:lvl3pPr marL="1028700" lvl="2" indent="-171450" algn="l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>
                <a:srgbClr val="404040"/>
              </a:buClr>
              <a:buSzPts val="5400"/>
              <a:buNone/>
              <a:defRPr sz="4050">
                <a:solidFill>
                  <a:srgbClr val="404040"/>
                </a:solidFill>
              </a:defRPr>
            </a:lvl3pPr>
            <a:lvl4pPr marL="1371600" lvl="3" indent="-171450" algn="l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>
                <a:srgbClr val="404040"/>
              </a:buClr>
              <a:buSzPts val="5400"/>
              <a:buNone/>
              <a:defRPr sz="4050">
                <a:solidFill>
                  <a:srgbClr val="404040"/>
                </a:solidFill>
              </a:defRPr>
            </a:lvl4pPr>
            <a:lvl5pPr marL="1714500" lvl="4" indent="-171450" algn="l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>
                <a:srgbClr val="404040"/>
              </a:buClr>
              <a:buSzPts val="5400"/>
              <a:buNone/>
              <a:defRPr sz="4050">
                <a:solidFill>
                  <a:srgbClr val="404040"/>
                </a:solidFill>
              </a:defRPr>
            </a:lvl5pPr>
            <a:lvl6pPr marL="2057400" lvl="5" indent="-257175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6pPr>
            <a:lvl7pPr marL="2400300" lvl="6" indent="-257175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7pPr>
            <a:lvl8pPr marL="2743200" lvl="7" indent="-257175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8pPr>
            <a:lvl9pPr marL="3086100" lvl="8" indent="-257175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" name="Google Shape;64;p4"/>
          <p:cNvSpPr txBox="1">
            <a:spLocks noGrp="1"/>
          </p:cNvSpPr>
          <p:nvPr>
            <p:ph type="body" idx="2"/>
          </p:nvPr>
        </p:nvSpPr>
        <p:spPr>
          <a:xfrm>
            <a:off x="4927485" y="3685762"/>
            <a:ext cx="3695496" cy="6728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rmAutofit/>
          </a:bodyPr>
          <a:lstStyle>
            <a:lvl1pPr marL="342900" lvl="0" indent="-171450" algn="l">
              <a:lnSpc>
                <a:spcPct val="150000"/>
              </a:lnSpc>
              <a:spcBef>
                <a:spcPts val="750"/>
              </a:spcBef>
              <a:spcAft>
                <a:spcPts val="0"/>
              </a:spcAft>
              <a:buClr>
                <a:srgbClr val="808080"/>
              </a:buClr>
              <a:buSzPts val="1200"/>
              <a:buNone/>
              <a:defRPr sz="900">
                <a:solidFill>
                  <a:srgbClr val="808080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5pPr>
            <a:lvl6pPr marL="2057400" lvl="5" indent="-257175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6pPr>
            <a:lvl7pPr marL="2400300" lvl="6" indent="-257175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7pPr>
            <a:lvl8pPr marL="2743200" lvl="7" indent="-257175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8pPr>
            <a:lvl9pPr marL="3086100" lvl="8" indent="-257175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3773487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AF3FC4-3B2F-474A-B321-70D885BA9D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703AB0C-5AF0-4941-B731-ADBC19DE544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4761CE-B6F2-4EA2-9D59-388B4FA723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72C59-B924-4B7C-85F3-0FC7330565BD}" type="datetimeFigureOut">
              <a:rPr lang="en-CA" smtClean="0"/>
              <a:t>2023-03-22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53646D-9CB4-4F8B-8485-18C1BEB430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443445-2B7C-486F-BE44-10F7B6B98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65C878-ED38-4EB4-A290-4E9319A3D87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82982312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F6D863-E48D-46F1-A3A7-5E88D6A75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735A27-8237-4FB9-89AB-7E9958E16D1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57368F-166E-4893-A93E-A6EC315F77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72C59-B924-4B7C-85F3-0FC7330565BD}" type="datetimeFigureOut">
              <a:rPr lang="en-CA" smtClean="0"/>
              <a:t>2023-03-22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DC1E63-8C6E-406C-955D-B16F6177CA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1B0A33-57FB-4F61-86A9-1786C0DB4B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65C878-ED38-4EB4-A290-4E9319A3D87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48470444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4EF61E-C5CD-4F02-BA66-D66DC50FC4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0B38F7-BEAB-4394-83D0-351F9D7D0C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84CAC6-20EA-4692-851F-B3C849600E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72C59-B924-4B7C-85F3-0FC7330565BD}" type="datetimeFigureOut">
              <a:rPr lang="en-CA" smtClean="0"/>
              <a:t>2023-03-22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D65755-F635-46A6-99DC-83C0F6AB71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0DA2F1-C756-47D8-81F6-D59BEE8BB5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65C878-ED38-4EB4-A290-4E9319A3D87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7145231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F42352-99B3-46D7-97D5-9C19867B1C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09E658-7D5B-4C82-9422-03550D48F9C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FB7BB1A-7316-4A7E-8A28-5EB52995E2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EC6B0DE-EC1B-4AA0-93B8-CA49F9E8C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72C59-B924-4B7C-85F3-0FC7330565BD}" type="datetimeFigureOut">
              <a:rPr lang="en-CA" smtClean="0"/>
              <a:t>2023-03-22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627373-A3E4-4869-91BC-87ADF5297E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0EBB75A-3FBF-43FD-BA99-55A6BAEA23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65C878-ED38-4EB4-A290-4E9319A3D87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87019651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3F4426-4A6E-48BE-AC10-909DCDDA36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A2128C-F710-4F72-9614-8C4F2396C6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1282176-1146-4015-AC9E-A4DBC046947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5F59915-A5A8-46DE-9B9E-3A608BC3C31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EE7C8F-757E-48D1-B2B9-35AE4379256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348A832-AF2B-4E39-B253-CE60CDCFB2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72C59-B924-4B7C-85F3-0FC7330565BD}" type="datetimeFigureOut">
              <a:rPr lang="en-CA" smtClean="0"/>
              <a:t>2023-03-22</a:t>
            </a:fld>
            <a:endParaRPr lang="en-CA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F583BA4-3081-4C79-9A44-67539758B1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D4716F0-AE0C-4652-AAC0-BFC5799506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65C878-ED38-4EB4-A290-4E9319A3D87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5656030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DCC96A-1C89-4B29-8259-55E4F841F6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C3EB1A9-72D2-42D7-AC25-30690B19BB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72C59-B924-4B7C-85F3-0FC7330565BD}" type="datetimeFigureOut">
              <a:rPr lang="en-CA" smtClean="0"/>
              <a:t>2023-03-22</a:t>
            </a:fld>
            <a:endParaRPr lang="en-C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B8E1E8-CC1E-4E95-AEAC-6D36C49DF0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71F2F04-D37F-4A32-9DAA-69C9511067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65C878-ED38-4EB4-A290-4E9319A3D87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10547693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A09E19E-88BD-4306-AD28-13A1763A76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72C59-B924-4B7C-85F3-0FC7330565BD}" type="datetimeFigureOut">
              <a:rPr lang="en-CA" smtClean="0"/>
              <a:t>2023-03-22</a:t>
            </a:fld>
            <a:endParaRPr lang="en-CA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DDB4AE6-70CA-4F45-820A-8D4A353096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4C538E-3641-4D1F-8C2F-68F393D5A9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65C878-ED38-4EB4-A290-4E9319A3D87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24715849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4651F1-628B-4874-B363-FDCBF6EBC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948718-1D53-4B8E-80E6-7EB7774586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633BD-3D01-41FA-9A04-043460DB22C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139A605-130F-4FA4-972B-30816AE0B9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72C59-B924-4B7C-85F3-0FC7330565BD}" type="datetimeFigureOut">
              <a:rPr lang="en-CA" smtClean="0"/>
              <a:t>2023-03-22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F3881CB-0916-4C13-8E4D-7AA6817019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C7F0399-C663-48B3-B672-4D1B8FEB9A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65C878-ED38-4EB4-A290-4E9319A3D87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714131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29F024-07BA-4580-A896-50DD01B11F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FC8787E-C0EC-479D-BE20-D780994AFF5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CF2466-B9D8-4B21-A983-6C487477296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24B5D8A-3EFA-450C-B6B5-E951B457A7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72C59-B924-4B7C-85F3-0FC7330565BD}" type="datetimeFigureOut">
              <a:rPr lang="en-CA" smtClean="0"/>
              <a:t>2023-03-22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BAFED1-2691-49E6-8DEB-AE7F01A63A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E0606CC-531C-48B4-9533-39A17AA11E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65C878-ED38-4EB4-A290-4E9319A3D87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1362229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-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B8786CB-19C0-B540-BF1A-581948C853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62087" y="15875"/>
            <a:ext cx="7681913" cy="5121275"/>
          </a:xfrm>
          <a:prstGeom prst="rect">
            <a:avLst/>
          </a:prstGeom>
        </p:spPr>
      </p:pic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8D84605B-DC15-4E46-B6DE-34E8EC18509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50"/>
            <a:ext cx="5803900" cy="51308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A748307-402E-7844-8E09-6984F7EF79C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5900" y="6350"/>
            <a:ext cx="508000" cy="5130800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5CEBDED3-753E-3642-A6BE-6585EB491A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2099" y="1388673"/>
            <a:ext cx="4179902" cy="980063"/>
          </a:xfrm>
          <a:prstGeom prst="rect">
            <a:avLst/>
          </a:prstGeom>
        </p:spPr>
        <p:txBody>
          <a:bodyPr/>
          <a:lstStyle>
            <a:lvl1pPr>
              <a:lnSpc>
                <a:spcPts val="3800"/>
              </a:lnSpc>
              <a:spcBef>
                <a:spcPts val="0"/>
              </a:spcBef>
              <a:defRPr sz="3600" b="0" i="0">
                <a:solidFill>
                  <a:srgbClr val="003946"/>
                </a:solidFill>
                <a:latin typeface="Sun Life Sans Light" panose="02000503000000020004" pitchFamily="2" charset="77"/>
                <a:cs typeface="Calibri"/>
              </a:defRPr>
            </a:lvl1pPr>
          </a:lstStyle>
          <a:p>
            <a:r>
              <a:rPr lang="en-CA"/>
              <a:t>Presentation title </a:t>
            </a:r>
            <a:br>
              <a:rPr lang="en-CA"/>
            </a:br>
            <a:r>
              <a:rPr lang="en-CA"/>
              <a:t>is written here</a:t>
            </a:r>
            <a:endParaRPr lang="en-US"/>
          </a:p>
        </p:txBody>
      </p:sp>
      <p:sp>
        <p:nvSpPr>
          <p:cNvPr id="15" name="Content Placeholder 24">
            <a:extLst>
              <a:ext uri="{FF2B5EF4-FFF2-40B4-BE49-F238E27FC236}">
                <a16:creationId xmlns:a16="http://schemas.microsoft.com/office/drawing/2014/main" id="{5D7D212A-16DB-5345-A1F8-023F2CD9A20B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96707" y="3183428"/>
            <a:ext cx="1755775" cy="2783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>
                <a:latin typeface="Sun Life Sans Regular" panose="02000503000000020004" pitchFamily="2" charset="77"/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CA"/>
              <a:t>Month, 20XX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197C4BA1-79A3-D64F-A136-9E55D9D9568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485" y="4143087"/>
            <a:ext cx="1589943" cy="6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05626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091069-FA95-41B5-B0D5-1B8116D15C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6D74C10-CB11-4C35-924B-E59BC1501ED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A2951C-EF2B-4007-B028-BFE56D8D9F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72C59-B924-4B7C-85F3-0FC7330565BD}" type="datetimeFigureOut">
              <a:rPr lang="en-CA" smtClean="0"/>
              <a:t>2023-03-22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67D86-66FC-445B-813C-36155E5493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20048-363D-46DA-A78C-C389121229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65C878-ED38-4EB4-A290-4E9319A3D87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487264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7A9E7C4-B8FA-48BB-8E9C-40B1AF4C616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5E6A774-989F-4A89-87E3-B0DFE31CAEB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8486AC-DA60-435A-8DA2-8D0061B156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72C59-B924-4B7C-85F3-0FC7330565BD}" type="datetimeFigureOut">
              <a:rPr lang="en-CA" smtClean="0"/>
              <a:t>2023-03-22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B16DBD-21C2-4970-8627-EA8D3BC55E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088987-3EE2-49F3-BBE4-B4F9D76F36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65C878-ED38-4EB4-A290-4E9319A3D87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21774662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for non-Board present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4A22073E-A59A-E542-9ED9-3D62DD3027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1031" r="8712" b="5570"/>
          <a:stretch/>
        </p:blipFill>
        <p:spPr>
          <a:xfrm>
            <a:off x="1737959" y="0"/>
            <a:ext cx="7406042" cy="51435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D1D54D5-440B-B44B-9606-29357BB538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7194" r="5044"/>
          <a:stretch/>
        </p:blipFill>
        <p:spPr>
          <a:xfrm>
            <a:off x="1440416" y="-1"/>
            <a:ext cx="7703585" cy="5095369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6C98008-5FA9-4D37-887E-C29D5C5B80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31" imgH="631" progId="TCLayout.ActiveDocument.1">
                  <p:embed/>
                </p:oleObj>
              </mc:Choice>
              <mc:Fallback>
                <p:oleObj name="think-cell Slide" r:id="rId5" imgW="631" imgH="63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6C98008-5FA9-4D37-887E-C29D5C5B80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4FCFF81-DDD8-AE46-ACB4-89F41F47DF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14727" y="835298"/>
            <a:ext cx="5760000" cy="984981"/>
          </a:xfrm>
          <a:prstGeom prst="rect">
            <a:avLst/>
          </a:prstGeom>
        </p:spPr>
        <p:txBody>
          <a:bodyPr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200" b="0" i="0">
                <a:solidFill>
                  <a:schemeClr val="tx2"/>
                </a:solidFill>
                <a:latin typeface="Sun Life Sans Light" panose="02000503000000020004" pitchFamily="2" charset="77"/>
              </a:defRPr>
            </a:lvl1pPr>
            <a:lvl2pPr marL="342892" indent="0">
              <a:buFontTx/>
              <a:buNone/>
              <a:defRPr>
                <a:latin typeface="Sun Life Sans" panose="02000503000000020004" pitchFamily="2" charset="77"/>
              </a:defRPr>
            </a:lvl2pPr>
            <a:lvl3pPr marL="685783" indent="0">
              <a:buFontTx/>
              <a:buNone/>
              <a:defRPr>
                <a:latin typeface="Sun Life Sans" panose="02000503000000020004" pitchFamily="2" charset="77"/>
              </a:defRPr>
            </a:lvl3pPr>
            <a:lvl4pPr marL="1028675" indent="0">
              <a:buFontTx/>
              <a:buNone/>
              <a:defRPr>
                <a:latin typeface="Sun Life Sans" panose="02000503000000020004" pitchFamily="2" charset="77"/>
              </a:defRPr>
            </a:lvl4pPr>
            <a:lvl5pPr marL="1371566" indent="0">
              <a:buFontTx/>
              <a:buNone/>
              <a:defRPr>
                <a:latin typeface="Sun Life Sans" panose="02000503000000020004" pitchFamily="2" charset="77"/>
              </a:defRPr>
            </a:lvl5pPr>
          </a:lstStyle>
          <a:p>
            <a:pPr lvl="0"/>
            <a:r>
              <a:rPr lang="en-CA"/>
              <a:t>Main title text goes here</a:t>
            </a:r>
          </a:p>
          <a:p>
            <a:pPr lvl="0"/>
            <a:r>
              <a:rPr lang="en-CA"/>
              <a:t>additional title text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C6CC24C-A9BC-D848-9234-F585CC6805B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8775" y="4186818"/>
            <a:ext cx="1456980" cy="62020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F8708D5-BBA1-D94C-A84F-9429F100510A}"/>
              </a:ext>
            </a:extLst>
          </p:cNvPr>
          <p:cNvSpPr txBox="1"/>
          <p:nvPr userDrawn="1"/>
        </p:nvSpPr>
        <p:spPr>
          <a:xfrm>
            <a:off x="2777568" y="2571750"/>
            <a:ext cx="3266472" cy="5770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950">
                <a:solidFill>
                  <a:schemeClr val="bg2">
                    <a:lumMod val="50000"/>
                  </a:schemeClr>
                </a:solidFill>
              </a:rPr>
              <a:t>ETAB Project Review Approval </a:t>
            </a:r>
          </a:p>
          <a:p>
            <a:r>
              <a:rPr lang="en-US" sz="1200"/>
              <a:t>(template version – August 2021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3AB468F-9365-944D-8F55-D33A2D316254}"/>
              </a:ext>
            </a:extLst>
          </p:cNvPr>
          <p:cNvSpPr txBox="1"/>
          <p:nvPr userDrawn="1"/>
        </p:nvSpPr>
        <p:spPr>
          <a:xfrm>
            <a:off x="2897815" y="3357082"/>
            <a:ext cx="1269899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/>
              <a:t>Presenter(s): 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C752953-48B6-6E48-B5E6-302F944AFC28}"/>
              </a:ext>
            </a:extLst>
          </p:cNvPr>
          <p:cNvSpPr txBox="1"/>
          <p:nvPr userDrawn="1"/>
        </p:nvSpPr>
        <p:spPr>
          <a:xfrm>
            <a:off x="2906518" y="4226225"/>
            <a:ext cx="1929182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2000"/>
            </a:lvl1pPr>
          </a:lstStyle>
          <a:p>
            <a:pPr lvl="0"/>
            <a:r>
              <a:rPr lang="en-US" sz="1500"/>
              <a:t>Date of Presentation:  </a:t>
            </a:r>
          </a:p>
        </p:txBody>
      </p:sp>
    </p:spTree>
    <p:extLst>
      <p:ext uri="{BB962C8B-B14F-4D97-AF65-F5344CB8AC3E}">
        <p14:creationId xmlns:p14="http://schemas.microsoft.com/office/powerpoint/2010/main" val="122325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3">
          <p15:clr>
            <a:srgbClr val="FBAE40"/>
          </p15:clr>
        </p15:guide>
        <p15:guide id="2" pos="226">
          <p15:clr>
            <a:srgbClr val="FBAE40"/>
          </p15:clr>
        </p15:guide>
        <p15:guide id="3" orient="horz" pos="486">
          <p15:clr>
            <a:srgbClr val="FBAE40"/>
          </p15:clr>
        </p15:guide>
        <p15:guide id="4" pos="174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AF3FC4-3B2F-474A-B321-70D885BA9D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703AB0C-5AF0-4941-B731-ADBC19DE544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4761CE-B6F2-4EA2-9D59-388B4FA723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72C59-B924-4B7C-85F3-0FC7330565BD}" type="datetimeFigureOut">
              <a:rPr lang="en-CA" smtClean="0"/>
              <a:t>2023-03-22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53646D-9CB4-4F8B-8485-18C1BEB430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443445-2B7C-486F-BE44-10F7B6B98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65C878-ED38-4EB4-A290-4E9319A3D87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16309917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F6D863-E48D-46F1-A3A7-5E88D6A75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735A27-8237-4FB9-89AB-7E9958E16D1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57368F-166E-4893-A93E-A6EC315F77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72C59-B924-4B7C-85F3-0FC7330565BD}" type="datetimeFigureOut">
              <a:rPr lang="en-CA" smtClean="0"/>
              <a:t>2023-03-22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DC1E63-8C6E-406C-955D-B16F6177CA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1B0A33-57FB-4F61-86A9-1786C0DB4B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65C878-ED38-4EB4-A290-4E9319A3D87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78917438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4EF61E-C5CD-4F02-BA66-D66DC50FC4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0B38F7-BEAB-4394-83D0-351F9D7D0C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84CAC6-20EA-4692-851F-B3C849600E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72C59-B924-4B7C-85F3-0FC7330565BD}" type="datetimeFigureOut">
              <a:rPr lang="en-CA" smtClean="0"/>
              <a:t>2023-03-22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D65755-F635-46A6-99DC-83C0F6AB71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0DA2F1-C756-47D8-81F6-D59BEE8BB5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65C878-ED38-4EB4-A290-4E9319A3D87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9627008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F42352-99B3-46D7-97D5-9C19867B1C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09E658-7D5B-4C82-9422-03550D48F9C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FB7BB1A-7316-4A7E-8A28-5EB52995E2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EC6B0DE-EC1B-4AA0-93B8-CA49F9E8C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72C59-B924-4B7C-85F3-0FC7330565BD}" type="datetimeFigureOut">
              <a:rPr lang="en-CA" smtClean="0"/>
              <a:t>2023-03-22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627373-A3E4-4869-91BC-87ADF5297E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0EBB75A-3FBF-43FD-BA99-55A6BAEA23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65C878-ED38-4EB4-A290-4E9319A3D87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13807928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3F4426-4A6E-48BE-AC10-909DCDDA36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A2128C-F710-4F72-9614-8C4F2396C6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1282176-1146-4015-AC9E-A4DBC046947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5F59915-A5A8-46DE-9B9E-3A608BC3C31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EE7C8F-757E-48D1-B2B9-35AE4379256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348A832-AF2B-4E39-B253-CE60CDCFB2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72C59-B924-4B7C-85F3-0FC7330565BD}" type="datetimeFigureOut">
              <a:rPr lang="en-CA" smtClean="0"/>
              <a:t>2023-03-22</a:t>
            </a:fld>
            <a:endParaRPr lang="en-CA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F583BA4-3081-4C79-9A44-67539758B1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D4716F0-AE0C-4652-AAC0-BFC5799506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65C878-ED38-4EB4-A290-4E9319A3D87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11829099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DCC96A-1C89-4B29-8259-55E4F841F6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C3EB1A9-72D2-42D7-AC25-30690B19BB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72C59-B924-4B7C-85F3-0FC7330565BD}" type="datetimeFigureOut">
              <a:rPr lang="en-CA" smtClean="0"/>
              <a:t>2023-03-22</a:t>
            </a:fld>
            <a:endParaRPr lang="en-C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B8E1E8-CC1E-4E95-AEAC-6D36C49DF0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71F2F04-D37F-4A32-9DAA-69C9511067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65C878-ED38-4EB4-A290-4E9319A3D87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5702554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A09E19E-88BD-4306-AD28-13A1763A76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72C59-B924-4B7C-85F3-0FC7330565BD}" type="datetimeFigureOut">
              <a:rPr lang="en-CA" smtClean="0"/>
              <a:t>2023-03-22</a:t>
            </a:fld>
            <a:endParaRPr lang="en-CA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DDB4AE6-70CA-4F45-820A-8D4A353096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4C538E-3641-4D1F-8C2F-68F393D5A9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65C878-ED38-4EB4-A290-4E9319A3D87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01970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-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AA30F7B-2C5C-C14E-8D19-EA3B58AF15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344"/>
          <a:stretch/>
        </p:blipFill>
        <p:spPr>
          <a:xfrm>
            <a:off x="4236233" y="9750"/>
            <a:ext cx="4907768" cy="5128670"/>
          </a:xfrm>
          <a:prstGeom prst="rect">
            <a:avLst/>
          </a:prstGeom>
        </p:spPr>
      </p:pic>
      <p:pic>
        <p:nvPicPr>
          <p:cNvPr id="14" name="Picture 13" descr="A close up of a logo&#10;&#10;Description automatically generated">
            <a:extLst>
              <a:ext uri="{FF2B5EF4-FFF2-40B4-BE49-F238E27FC236}">
                <a16:creationId xmlns:a16="http://schemas.microsoft.com/office/drawing/2014/main" id="{29F928E2-0920-FF4E-A28A-ADAA84B536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924"/>
            <a:ext cx="5803900" cy="514134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FFF4149-5530-8D43-B4EB-833E945BBFB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5900" y="-2924"/>
            <a:ext cx="508000" cy="5141344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B40C23EE-CE94-9D41-AB22-C23DE130A12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2099" y="1388673"/>
            <a:ext cx="4179902" cy="980063"/>
          </a:xfrm>
          <a:prstGeom prst="rect">
            <a:avLst/>
          </a:prstGeom>
        </p:spPr>
        <p:txBody>
          <a:bodyPr/>
          <a:lstStyle>
            <a:lvl1pPr>
              <a:lnSpc>
                <a:spcPts val="3800"/>
              </a:lnSpc>
              <a:spcBef>
                <a:spcPts val="0"/>
              </a:spcBef>
              <a:defRPr sz="3600" b="0" i="0">
                <a:solidFill>
                  <a:srgbClr val="003946"/>
                </a:solidFill>
                <a:latin typeface="Sun Life Sans Light" panose="02000503000000020004" pitchFamily="2" charset="77"/>
                <a:cs typeface="Calibri"/>
              </a:defRPr>
            </a:lvl1pPr>
          </a:lstStyle>
          <a:p>
            <a:r>
              <a:rPr lang="en-CA"/>
              <a:t>Presentation title </a:t>
            </a:r>
            <a:br>
              <a:rPr lang="en-CA"/>
            </a:br>
            <a:r>
              <a:rPr lang="en-CA"/>
              <a:t>is written here</a:t>
            </a:r>
            <a:endParaRPr lang="en-US"/>
          </a:p>
        </p:txBody>
      </p:sp>
      <p:sp>
        <p:nvSpPr>
          <p:cNvPr id="13" name="Content Placeholder 24">
            <a:extLst>
              <a:ext uri="{FF2B5EF4-FFF2-40B4-BE49-F238E27FC236}">
                <a16:creationId xmlns:a16="http://schemas.microsoft.com/office/drawing/2014/main" id="{123C678C-C48B-D047-AB47-785AB26EA69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96707" y="3183428"/>
            <a:ext cx="1755775" cy="2783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>
                <a:latin typeface="Sun Life Sans Regular" panose="02000503000000020004" pitchFamily="2" charset="77"/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CA"/>
              <a:t>Month, 20XX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80E9E39B-6941-854E-A0E9-CB4234D79A1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485" y="4143087"/>
            <a:ext cx="1589943" cy="6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673447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4651F1-628B-4874-B363-FDCBF6EBC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948718-1D53-4B8E-80E6-7EB7774586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633BD-3D01-41FA-9A04-043460DB22C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139A605-130F-4FA4-972B-30816AE0B9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72C59-B924-4B7C-85F3-0FC7330565BD}" type="datetimeFigureOut">
              <a:rPr lang="en-CA" smtClean="0"/>
              <a:t>2023-03-22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F3881CB-0916-4C13-8E4D-7AA6817019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C7F0399-C663-48B3-B672-4D1B8FEB9A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65C878-ED38-4EB4-A290-4E9319A3D87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15161969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29F024-07BA-4580-A896-50DD01B11F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FC8787E-C0EC-479D-BE20-D780994AFF5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CF2466-B9D8-4B21-A983-6C487477296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24B5D8A-3EFA-450C-B6B5-E951B457A7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72C59-B924-4B7C-85F3-0FC7330565BD}" type="datetimeFigureOut">
              <a:rPr lang="en-CA" smtClean="0"/>
              <a:t>2023-03-22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BAFED1-2691-49E6-8DEB-AE7F01A63A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E0606CC-531C-48B4-9533-39A17AA11E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65C878-ED38-4EB4-A290-4E9319A3D87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2029292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091069-FA95-41B5-B0D5-1B8116D15C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6D74C10-CB11-4C35-924B-E59BC1501ED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A2951C-EF2B-4007-B028-BFE56D8D9F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72C59-B924-4B7C-85F3-0FC7330565BD}" type="datetimeFigureOut">
              <a:rPr lang="en-CA" smtClean="0"/>
              <a:t>2023-03-22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67D86-66FC-445B-813C-36155E5493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20048-363D-46DA-A78C-C389121229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65C878-ED38-4EB4-A290-4E9319A3D87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5339461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7A9E7C4-B8FA-48BB-8E9C-40B1AF4C616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5E6A774-989F-4A89-87E3-B0DFE31CAEB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8486AC-DA60-435A-8DA2-8D0061B156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72C59-B924-4B7C-85F3-0FC7330565BD}" type="datetimeFigureOut">
              <a:rPr lang="en-CA" smtClean="0"/>
              <a:t>2023-03-22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B16DBD-21C2-4970-8627-EA8D3BC55E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088987-3EE2-49F3-BBE4-B4F9D76F36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65C878-ED38-4EB4-A290-4E9319A3D87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3164021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for non-Board present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4A22073E-A59A-E542-9ED9-3D62DD3027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1031" r="8712" b="5570"/>
          <a:stretch/>
        </p:blipFill>
        <p:spPr>
          <a:xfrm>
            <a:off x="1737959" y="0"/>
            <a:ext cx="7406042" cy="51435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D1D54D5-440B-B44B-9606-29357BB538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7194" r="5044"/>
          <a:stretch/>
        </p:blipFill>
        <p:spPr>
          <a:xfrm>
            <a:off x="1440416" y="-1"/>
            <a:ext cx="7703585" cy="5095369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6C98008-5FA9-4D37-887E-C29D5C5B80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31" imgH="631" progId="TCLayout.ActiveDocument.1">
                  <p:embed/>
                </p:oleObj>
              </mc:Choice>
              <mc:Fallback>
                <p:oleObj name="think-cell Slide" r:id="rId5" imgW="631" imgH="63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6C98008-5FA9-4D37-887E-C29D5C5B80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4FCFF81-DDD8-AE46-ACB4-89F41F47DF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14727" y="835298"/>
            <a:ext cx="5760000" cy="984981"/>
          </a:xfrm>
          <a:prstGeom prst="rect">
            <a:avLst/>
          </a:prstGeom>
        </p:spPr>
        <p:txBody>
          <a:bodyPr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200" b="0" i="0">
                <a:solidFill>
                  <a:schemeClr val="tx2"/>
                </a:solidFill>
                <a:latin typeface="Sun Life Sans Light" panose="02000503000000020004" pitchFamily="2" charset="77"/>
              </a:defRPr>
            </a:lvl1pPr>
            <a:lvl2pPr marL="342892" indent="0">
              <a:buFontTx/>
              <a:buNone/>
              <a:defRPr>
                <a:latin typeface="Sun Life Sans" panose="02000503000000020004" pitchFamily="2" charset="77"/>
              </a:defRPr>
            </a:lvl2pPr>
            <a:lvl3pPr marL="685783" indent="0">
              <a:buFontTx/>
              <a:buNone/>
              <a:defRPr>
                <a:latin typeface="Sun Life Sans" panose="02000503000000020004" pitchFamily="2" charset="77"/>
              </a:defRPr>
            </a:lvl3pPr>
            <a:lvl4pPr marL="1028675" indent="0">
              <a:buFontTx/>
              <a:buNone/>
              <a:defRPr>
                <a:latin typeface="Sun Life Sans" panose="02000503000000020004" pitchFamily="2" charset="77"/>
              </a:defRPr>
            </a:lvl4pPr>
            <a:lvl5pPr marL="1371566" indent="0">
              <a:buFontTx/>
              <a:buNone/>
              <a:defRPr>
                <a:latin typeface="Sun Life Sans" panose="02000503000000020004" pitchFamily="2" charset="77"/>
              </a:defRPr>
            </a:lvl5pPr>
          </a:lstStyle>
          <a:p>
            <a:pPr lvl="0"/>
            <a:r>
              <a:rPr lang="en-CA"/>
              <a:t>Main title text goes here</a:t>
            </a:r>
          </a:p>
          <a:p>
            <a:pPr lvl="0"/>
            <a:r>
              <a:rPr lang="en-CA"/>
              <a:t>additional title text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C6CC24C-A9BC-D848-9234-F585CC6805B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8775" y="4186818"/>
            <a:ext cx="1456980" cy="62020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F8708D5-BBA1-D94C-A84F-9429F100510A}"/>
              </a:ext>
            </a:extLst>
          </p:cNvPr>
          <p:cNvSpPr txBox="1"/>
          <p:nvPr userDrawn="1"/>
        </p:nvSpPr>
        <p:spPr>
          <a:xfrm>
            <a:off x="2777568" y="2571750"/>
            <a:ext cx="3266472" cy="5770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950">
                <a:solidFill>
                  <a:schemeClr val="bg2">
                    <a:lumMod val="50000"/>
                  </a:schemeClr>
                </a:solidFill>
              </a:rPr>
              <a:t>ETAB Project Review Approval </a:t>
            </a:r>
          </a:p>
          <a:p>
            <a:r>
              <a:rPr lang="en-US" sz="1200"/>
              <a:t>(template version – August 2021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3AB468F-9365-944D-8F55-D33A2D316254}"/>
              </a:ext>
            </a:extLst>
          </p:cNvPr>
          <p:cNvSpPr txBox="1"/>
          <p:nvPr userDrawn="1"/>
        </p:nvSpPr>
        <p:spPr>
          <a:xfrm>
            <a:off x="2897815" y="3357082"/>
            <a:ext cx="1269899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/>
              <a:t>Presenter(s): 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C752953-48B6-6E48-B5E6-302F944AFC28}"/>
              </a:ext>
            </a:extLst>
          </p:cNvPr>
          <p:cNvSpPr txBox="1"/>
          <p:nvPr userDrawn="1"/>
        </p:nvSpPr>
        <p:spPr>
          <a:xfrm>
            <a:off x="2906518" y="4226225"/>
            <a:ext cx="1929182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2000"/>
            </a:lvl1pPr>
          </a:lstStyle>
          <a:p>
            <a:pPr lvl="0"/>
            <a:r>
              <a:rPr lang="en-US" sz="1500"/>
              <a:t>Date of Presentation:  </a:t>
            </a:r>
          </a:p>
        </p:txBody>
      </p:sp>
    </p:spTree>
    <p:extLst>
      <p:ext uri="{BB962C8B-B14F-4D97-AF65-F5344CB8AC3E}">
        <p14:creationId xmlns:p14="http://schemas.microsoft.com/office/powerpoint/2010/main" val="3618744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3">
          <p15:clr>
            <a:srgbClr val="FBAE40"/>
          </p15:clr>
        </p15:guide>
        <p15:guide id="2" pos="226">
          <p15:clr>
            <a:srgbClr val="FBAE40"/>
          </p15:clr>
        </p15:guide>
        <p15:guide id="3" orient="horz" pos="486">
          <p15:clr>
            <a:srgbClr val="FBAE40"/>
          </p15:clr>
        </p15:guide>
        <p15:guide id="4" pos="1746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9"/>
          <p:cNvSpPr txBox="1">
            <a:spLocks noGrp="1"/>
          </p:cNvSpPr>
          <p:nvPr>
            <p:ph type="title"/>
          </p:nvPr>
        </p:nvSpPr>
        <p:spPr>
          <a:xfrm>
            <a:off x="628650" y="418417"/>
            <a:ext cx="7886700" cy="568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04040"/>
              </a:buClr>
              <a:buSzPts val="1800"/>
              <a:buNone/>
              <a:defRPr/>
            </a:lvl1pPr>
            <a:lvl2pPr lvl="1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04040"/>
              </a:buClr>
              <a:buSzPts val="1800"/>
              <a:buNone/>
              <a:defRPr/>
            </a:lvl2pPr>
            <a:lvl3pPr lvl="2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04040"/>
              </a:buClr>
              <a:buSzPts val="1800"/>
              <a:buNone/>
              <a:defRPr/>
            </a:lvl3pPr>
            <a:lvl4pPr lvl="3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04040"/>
              </a:buClr>
              <a:buSzPts val="1800"/>
              <a:buNone/>
              <a:defRPr/>
            </a:lvl4pPr>
            <a:lvl5pPr lvl="4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04040"/>
              </a:buClr>
              <a:buSzPts val="1800"/>
              <a:buNone/>
              <a:defRPr/>
            </a:lvl5pPr>
            <a:lvl6pPr lvl="5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04040"/>
              </a:buClr>
              <a:buSzPts val="1800"/>
              <a:buNone/>
              <a:defRPr/>
            </a:lvl6pPr>
            <a:lvl7pPr lvl="6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04040"/>
              </a:buClr>
              <a:buSzPts val="1800"/>
              <a:buNone/>
              <a:defRPr/>
            </a:lvl7pPr>
            <a:lvl8pPr lvl="7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04040"/>
              </a:buClr>
              <a:buSzPts val="1800"/>
              <a:buNone/>
              <a:defRPr/>
            </a:lvl8pPr>
            <a:lvl9pPr lvl="8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0404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5" name="Google Shape;45;p9"/>
          <p:cNvSpPr txBox="1">
            <a:spLocks noGrp="1"/>
          </p:cNvSpPr>
          <p:nvPr>
            <p:ph type="sldNum" idx="12"/>
          </p:nvPr>
        </p:nvSpPr>
        <p:spPr>
          <a:xfrm>
            <a:off x="5001934" y="4908097"/>
            <a:ext cx="155348" cy="1470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Calibri"/>
              <a:buNone/>
              <a:defRPr sz="6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Calibri"/>
              <a:buNone/>
              <a:defRPr sz="6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Calibri"/>
              <a:buNone/>
              <a:defRPr sz="6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Calibri"/>
              <a:buNone/>
              <a:defRPr sz="6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Calibri"/>
              <a:buNone/>
              <a:defRPr sz="6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Calibri"/>
              <a:buNone/>
              <a:defRPr sz="6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Calibri"/>
              <a:buNone/>
              <a:defRPr sz="6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Calibri"/>
              <a:buNone/>
              <a:defRPr sz="6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Calibri"/>
              <a:buNone/>
              <a:defRPr sz="6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369104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-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7FA6F9B-5E4A-0D4C-87D5-2CFABEFAB1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6200" y="0"/>
            <a:ext cx="1447800" cy="5143500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51A75554-CB60-B248-AA8B-7119630A7B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668" y="412751"/>
            <a:ext cx="7438690" cy="58102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defRPr sz="2400" b="0" i="0">
                <a:latin typeface="Sun Life Sans" panose="02000503000000020004" pitchFamily="2" charset="77"/>
              </a:defRPr>
            </a:lvl1pPr>
          </a:lstStyle>
          <a:p>
            <a:r>
              <a:rPr lang="en-CA"/>
              <a:t>Headline goes here </a:t>
            </a:r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4D91891-B1E2-A549-94C1-467816816965}"/>
              </a:ext>
            </a:extLst>
          </p:cNvPr>
          <p:cNvSpPr txBox="1"/>
          <p:nvPr userDrawn="1"/>
        </p:nvSpPr>
        <p:spPr>
          <a:xfrm>
            <a:off x="450669" y="4789518"/>
            <a:ext cx="905434" cy="208840"/>
          </a:xfrm>
          <a:prstGeom prst="rect">
            <a:avLst/>
          </a:prstGeom>
          <a:noFill/>
        </p:spPr>
        <p:txBody>
          <a:bodyPr wrap="square" lIns="0" rIns="72000" bIns="46800" rtlCol="0">
            <a:spAutoFit/>
          </a:bodyPr>
          <a:lstStyle/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750" b="0" i="0" spc="300" baseline="0">
                <a:solidFill>
                  <a:srgbClr val="003946"/>
                </a:solidFill>
                <a:latin typeface="Sun Life Sans" panose="02000503000000020004" pitchFamily="2" charset="77"/>
                <a:cs typeface="Calibri" panose="020F0502020204030204" pitchFamily="34" charset="0"/>
              </a:rPr>
              <a:t>SUN LIFE</a:t>
            </a:r>
            <a:r>
              <a:rPr lang="en-CA" sz="750" b="0" i="0" spc="300" baseline="0">
                <a:solidFill>
                  <a:srgbClr val="FFCB05"/>
                </a:solidFill>
                <a:latin typeface="Sun Life Sans" panose="02000503000000020004" pitchFamily="2" charset="77"/>
                <a:cs typeface="Calibri" panose="020F0502020204030204" pitchFamily="34" charset="0"/>
              </a:rPr>
              <a:t>•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6C4DAC2-3D53-B74E-A095-54AFD222AC9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57301" y="4781545"/>
            <a:ext cx="6632059" cy="224789"/>
          </a:xfrm>
          <a:prstGeom prst="rect">
            <a:avLst/>
          </a:prstGeom>
        </p:spPr>
        <p:txBody>
          <a:bodyPr lIns="0" rIns="0"/>
          <a:lstStyle>
            <a:lvl1pPr>
              <a:buFontTx/>
              <a:buNone/>
              <a:defRPr sz="750" b="0" i="0" spc="300" baseline="0">
                <a:latin typeface="Sun Life Sans" panose="02000503000000020004" pitchFamily="2" charset="77"/>
              </a:defRPr>
            </a:lvl1pPr>
            <a:lvl2pPr marL="0" indent="0">
              <a:buFontTx/>
              <a:buNone/>
              <a:defRPr/>
            </a:lvl2pPr>
            <a:lvl3pPr marL="271457" indent="0">
              <a:buFontTx/>
              <a:buNone/>
              <a:defRPr/>
            </a:lvl3pPr>
            <a:lvl4pPr marL="449252" indent="0">
              <a:buFontTx/>
              <a:buNone/>
              <a:defRPr/>
            </a:lvl4pPr>
            <a:lvl5pPr marL="627047" indent="0">
              <a:buFontTx/>
              <a:buNone/>
              <a:defRPr/>
            </a:lvl5pPr>
          </a:lstStyle>
          <a:p>
            <a:pPr lvl="0"/>
            <a:r>
              <a:rPr lang="en-US"/>
              <a:t>PPT TOPIC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263890F-739B-2944-8643-37A6EC3B4D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971906" y="4781545"/>
            <a:ext cx="399097" cy="224789"/>
          </a:xfrm>
          <a:prstGeom prst="rect">
            <a:avLst/>
          </a:prstGeom>
        </p:spPr>
        <p:txBody>
          <a:bodyPr vert="horz" lIns="91440" tIns="45720" rIns="90000" bIns="45720" rtlCol="0" anchor="ctr"/>
          <a:lstStyle>
            <a:lvl1pPr algn="r">
              <a:defRPr sz="750" b="0" i="0">
                <a:solidFill>
                  <a:srgbClr val="003946"/>
                </a:solidFill>
                <a:latin typeface="Sun Life Sans" panose="02000503000000020004" pitchFamily="2" charset="77"/>
                <a:cs typeface="Calibri"/>
              </a:defRPr>
            </a:lvl1pPr>
          </a:lstStyle>
          <a:p>
            <a:fld id="{CD0B62E8-4833-C84D-A86B-4CF3C4DE74F8}" type="slidenum">
              <a:rPr lang="uk-UA" smtClean="0"/>
              <a:pPr/>
              <a:t>‹#›</a:t>
            </a:fld>
            <a:endParaRPr lang="uk-UA"/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6F0BE3C1-9D54-A24F-B57B-3F41F1D6D1E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53935" y="1555965"/>
            <a:ext cx="8236129" cy="310453"/>
          </a:xfrm>
          <a:prstGeom prst="rect">
            <a:avLst/>
          </a:prstGeom>
        </p:spPr>
        <p:txBody>
          <a:bodyPr lIns="0"/>
          <a:lstStyle>
            <a:lvl1pPr>
              <a:spcBef>
                <a:spcPts val="0"/>
              </a:spcBef>
              <a:defRPr sz="1500" b="0" i="0">
                <a:solidFill>
                  <a:srgbClr val="EAAB00"/>
                </a:solidFill>
                <a:latin typeface="Sun Life Sans Medium" panose="02000503000000020004" pitchFamily="2" charset="77"/>
              </a:defRPr>
            </a:lvl1pPr>
          </a:lstStyle>
          <a:p>
            <a:pPr lvl="0"/>
            <a:r>
              <a:rPr lang="en-CA"/>
              <a:t>SECTION TITLE GOES HERE</a:t>
            </a:r>
          </a:p>
        </p:txBody>
      </p:sp>
      <p:sp>
        <p:nvSpPr>
          <p:cNvPr id="14" name="Content Placeholder 14">
            <a:extLst>
              <a:ext uri="{FF2B5EF4-FFF2-40B4-BE49-F238E27FC236}">
                <a16:creationId xmlns:a16="http://schemas.microsoft.com/office/drawing/2014/main" id="{CD1DD5A9-1FAD-FC4E-BC91-55AADBF87B5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53935" y="2036291"/>
            <a:ext cx="8236129" cy="2072872"/>
          </a:xfrm>
          <a:prstGeom prst="rect">
            <a:avLst/>
          </a:prstGeom>
        </p:spPr>
        <p:txBody>
          <a:bodyPr lIns="0"/>
          <a:lstStyle>
            <a:lvl1pPr>
              <a:defRPr sz="1200" b="0" i="0">
                <a:solidFill>
                  <a:srgbClr val="555555"/>
                </a:solidFill>
                <a:latin typeface="Sun Life Sans" panose="02000503000000020004" pitchFamily="2" charset="77"/>
              </a:defRPr>
            </a:lvl1pPr>
            <a:lvl2pPr marL="86398" indent="-122397">
              <a:buClr>
                <a:srgbClr val="EAAB00"/>
              </a:buClr>
              <a:defRPr sz="1200" b="0" i="0">
                <a:solidFill>
                  <a:srgbClr val="555555"/>
                </a:solidFill>
                <a:latin typeface="Sun Life Sans" panose="02000503000000020004" pitchFamily="2" charset="77"/>
              </a:defRPr>
            </a:lvl2pPr>
            <a:lvl3pPr marL="237594" indent="-122397">
              <a:buClr>
                <a:srgbClr val="EAAB00"/>
              </a:buClr>
              <a:defRPr sz="1200" b="0" i="0">
                <a:solidFill>
                  <a:srgbClr val="555555"/>
                </a:solidFill>
                <a:latin typeface="Sun Life Sans" panose="02000503000000020004" pitchFamily="2" charset="77"/>
              </a:defRPr>
            </a:lvl3pPr>
            <a:lvl4pPr marL="356391" indent="-122397">
              <a:buClr>
                <a:srgbClr val="EAAB00"/>
              </a:buClr>
              <a:defRPr sz="1200" b="0" i="0">
                <a:solidFill>
                  <a:srgbClr val="555555"/>
                </a:solidFill>
                <a:latin typeface="Sun Life Sans" panose="02000503000000020004" pitchFamily="2" charset="77"/>
              </a:defRPr>
            </a:lvl4pPr>
            <a:lvl5pPr marL="478788" indent="-122397">
              <a:buClr>
                <a:srgbClr val="EAAB00"/>
              </a:buClr>
              <a:defRPr sz="1200" b="0" i="0">
                <a:solidFill>
                  <a:srgbClr val="555555"/>
                </a:solidFill>
                <a:latin typeface="Sun Life Sans" panose="02000503000000020004" pitchFamily="2" charset="77"/>
              </a:defRPr>
            </a:lvl5pPr>
          </a:lstStyle>
          <a:p>
            <a:pPr lvl="0"/>
            <a:r>
              <a:rPr lang="en-CA"/>
              <a:t>Add text here</a:t>
            </a:r>
          </a:p>
          <a:p>
            <a:pPr lvl="1"/>
            <a:r>
              <a:rPr lang="en-CA"/>
              <a:t>bullet level 1</a:t>
            </a:r>
          </a:p>
          <a:p>
            <a:pPr lvl="2"/>
            <a:r>
              <a:rPr lang="en-CA"/>
              <a:t>bullet level 2</a:t>
            </a:r>
          </a:p>
          <a:p>
            <a:pPr lvl="3"/>
            <a:r>
              <a:rPr lang="en-CA"/>
              <a:t>bullet level 3</a:t>
            </a:r>
          </a:p>
          <a:p>
            <a:pPr lvl="4"/>
            <a:r>
              <a:rPr lang="en-CA"/>
              <a:t>bullet level 4</a:t>
            </a:r>
          </a:p>
        </p:txBody>
      </p:sp>
      <p:sp>
        <p:nvSpPr>
          <p:cNvPr id="16" name="Text Placeholder 20">
            <a:extLst>
              <a:ext uri="{FF2B5EF4-FFF2-40B4-BE49-F238E27FC236}">
                <a16:creationId xmlns:a16="http://schemas.microsoft.com/office/drawing/2014/main" id="{D647676B-2E7D-F241-ABC5-6DAE88868F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3935" y="1075639"/>
            <a:ext cx="8236129" cy="398463"/>
          </a:xfrm>
          <a:prstGeom prst="rect">
            <a:avLst/>
          </a:prstGeom>
        </p:spPr>
        <p:txBody>
          <a:bodyPr lIns="0" anchor="ctr"/>
          <a:lstStyle>
            <a:lvl1pPr>
              <a:spcBef>
                <a:spcPts val="0"/>
              </a:spcBef>
              <a:defRPr sz="1700" b="0" i="0" baseline="0">
                <a:latin typeface="Sun Life Sans" panose="02000503000000020004" pitchFamily="2" charset="77"/>
              </a:defRPr>
            </a:lvl1pPr>
          </a:lstStyle>
          <a:p>
            <a:pPr lvl="0"/>
            <a:r>
              <a:rPr lang="en-CA"/>
              <a:t>Subhead goes here</a:t>
            </a:r>
          </a:p>
        </p:txBody>
      </p:sp>
    </p:spTree>
    <p:extLst>
      <p:ext uri="{BB962C8B-B14F-4D97-AF65-F5344CB8AC3E}">
        <p14:creationId xmlns:p14="http://schemas.microsoft.com/office/powerpoint/2010/main" val="7693521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-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AA30F7B-2C5C-C14E-8D19-EA3B58AF15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05"/>
          <a:stretch/>
        </p:blipFill>
        <p:spPr>
          <a:xfrm>
            <a:off x="2231583" y="-2925"/>
            <a:ext cx="6912417" cy="5146425"/>
          </a:xfrm>
          <a:prstGeom prst="rect">
            <a:avLst/>
          </a:prstGeom>
        </p:spPr>
      </p:pic>
      <p:pic>
        <p:nvPicPr>
          <p:cNvPr id="14" name="Picture 13" descr="A close up of a logo&#10;&#10;Description automatically generated">
            <a:extLst>
              <a:ext uri="{FF2B5EF4-FFF2-40B4-BE49-F238E27FC236}">
                <a16:creationId xmlns:a16="http://schemas.microsoft.com/office/drawing/2014/main" id="{29F928E2-0920-FF4E-A28A-ADAA84B536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924"/>
            <a:ext cx="5803900" cy="514134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FFF4149-5530-8D43-B4EB-833E945BBFB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5900" y="-2924"/>
            <a:ext cx="508000" cy="5141344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B40C23EE-CE94-9D41-AB22-C23DE130A12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2099" y="1388673"/>
            <a:ext cx="4179902" cy="980063"/>
          </a:xfrm>
          <a:prstGeom prst="rect">
            <a:avLst/>
          </a:prstGeom>
        </p:spPr>
        <p:txBody>
          <a:bodyPr/>
          <a:lstStyle>
            <a:lvl1pPr>
              <a:lnSpc>
                <a:spcPts val="3800"/>
              </a:lnSpc>
              <a:spcBef>
                <a:spcPts val="0"/>
              </a:spcBef>
              <a:defRPr sz="3600" b="0" i="0">
                <a:solidFill>
                  <a:srgbClr val="003946"/>
                </a:solidFill>
                <a:latin typeface="Sun Life Sans Light" panose="02000503000000020004" pitchFamily="2" charset="77"/>
                <a:cs typeface="Calibri"/>
              </a:defRPr>
            </a:lvl1pPr>
          </a:lstStyle>
          <a:p>
            <a:r>
              <a:rPr lang="en-CA"/>
              <a:t>Presentation title </a:t>
            </a:r>
            <a:br>
              <a:rPr lang="en-CA"/>
            </a:br>
            <a:r>
              <a:rPr lang="en-CA"/>
              <a:t>is written here</a:t>
            </a:r>
            <a:endParaRPr lang="en-US"/>
          </a:p>
        </p:txBody>
      </p:sp>
      <p:sp>
        <p:nvSpPr>
          <p:cNvPr id="13" name="Content Placeholder 24">
            <a:extLst>
              <a:ext uri="{FF2B5EF4-FFF2-40B4-BE49-F238E27FC236}">
                <a16:creationId xmlns:a16="http://schemas.microsoft.com/office/drawing/2014/main" id="{123C678C-C48B-D047-AB47-785AB26EA69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96707" y="3183428"/>
            <a:ext cx="1755775" cy="2783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>
                <a:latin typeface="Sun Life Sans Regular" panose="02000503000000020004" pitchFamily="2" charset="77"/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CA"/>
              <a:t>Month, 20XX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2DD65058-FD7D-6F41-8EFE-2517938E09D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485" y="4143087"/>
            <a:ext cx="1589943" cy="6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37291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-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AA30F7B-2C5C-C14E-8D19-EA3B58AF15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13294" y="-2923"/>
            <a:ext cx="5730706" cy="5141344"/>
          </a:xfrm>
          <a:prstGeom prst="rect">
            <a:avLst/>
          </a:prstGeom>
        </p:spPr>
      </p:pic>
      <p:pic>
        <p:nvPicPr>
          <p:cNvPr id="14" name="Picture 13" descr="A close up of a logo&#10;&#10;Description automatically generated">
            <a:extLst>
              <a:ext uri="{FF2B5EF4-FFF2-40B4-BE49-F238E27FC236}">
                <a16:creationId xmlns:a16="http://schemas.microsoft.com/office/drawing/2014/main" id="{29F928E2-0920-FF4E-A28A-ADAA84B536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924"/>
            <a:ext cx="5803900" cy="514134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FFF4149-5530-8D43-B4EB-833E945BBFB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5900" y="-2924"/>
            <a:ext cx="508000" cy="5141344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B40C23EE-CE94-9D41-AB22-C23DE130A12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2099" y="1388673"/>
            <a:ext cx="4179902" cy="980063"/>
          </a:xfrm>
          <a:prstGeom prst="rect">
            <a:avLst/>
          </a:prstGeom>
        </p:spPr>
        <p:txBody>
          <a:bodyPr/>
          <a:lstStyle>
            <a:lvl1pPr>
              <a:lnSpc>
                <a:spcPts val="3800"/>
              </a:lnSpc>
              <a:spcBef>
                <a:spcPts val="0"/>
              </a:spcBef>
              <a:defRPr sz="3600" b="0" i="0">
                <a:solidFill>
                  <a:srgbClr val="003946"/>
                </a:solidFill>
                <a:latin typeface="Sun Life Sans Light" panose="02000503000000020004" pitchFamily="2" charset="77"/>
                <a:cs typeface="Calibri"/>
              </a:defRPr>
            </a:lvl1pPr>
          </a:lstStyle>
          <a:p>
            <a:r>
              <a:rPr lang="en-CA"/>
              <a:t>Presentation title </a:t>
            </a:r>
            <a:br>
              <a:rPr lang="en-CA"/>
            </a:br>
            <a:r>
              <a:rPr lang="en-CA"/>
              <a:t>is written here</a:t>
            </a:r>
            <a:endParaRPr lang="en-US"/>
          </a:p>
        </p:txBody>
      </p:sp>
      <p:sp>
        <p:nvSpPr>
          <p:cNvPr id="13" name="Content Placeholder 24">
            <a:extLst>
              <a:ext uri="{FF2B5EF4-FFF2-40B4-BE49-F238E27FC236}">
                <a16:creationId xmlns:a16="http://schemas.microsoft.com/office/drawing/2014/main" id="{123C678C-C48B-D047-AB47-785AB26EA69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96707" y="3183428"/>
            <a:ext cx="1755775" cy="2783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>
                <a:latin typeface="Sun Life Sans Regular" panose="02000503000000020004" pitchFamily="2" charset="77"/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CA"/>
              <a:t>Month, 20XX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FAE6599C-2D50-3842-9A92-133E5E22185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485" y="4143087"/>
            <a:ext cx="1589943" cy="6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87226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-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86B6ABE-A3C9-3B42-ADAC-AA813D8FC1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0" y="1058720"/>
            <a:ext cx="9131300" cy="360179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CECA4C3-A2CC-A943-94C0-EBC36402AD22}"/>
              </a:ext>
            </a:extLst>
          </p:cNvPr>
          <p:cNvSpPr txBox="1"/>
          <p:nvPr userDrawn="1"/>
        </p:nvSpPr>
        <p:spPr>
          <a:xfrm>
            <a:off x="5791201" y="4645511"/>
            <a:ext cx="3098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>
                <a:solidFill>
                  <a:schemeClr val="bg1"/>
                </a:solidFill>
                <a:latin typeface="Sun Life Sans Regular" panose="02000503000000020004" pitchFamily="2" charset="77"/>
              </a:rPr>
              <a:t>Life’s brighter under the sun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2BA9A8C-B883-064F-8723-2637F631A62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148" y="831695"/>
            <a:ext cx="4179902" cy="980063"/>
          </a:xfrm>
          <a:prstGeom prst="rect">
            <a:avLst/>
          </a:prstGeom>
        </p:spPr>
        <p:txBody>
          <a:bodyPr/>
          <a:lstStyle>
            <a:lvl1pPr>
              <a:lnSpc>
                <a:spcPts val="3800"/>
              </a:lnSpc>
              <a:spcBef>
                <a:spcPts val="0"/>
              </a:spcBef>
              <a:defRPr sz="3600" b="0" i="0">
                <a:solidFill>
                  <a:srgbClr val="003946"/>
                </a:solidFill>
                <a:latin typeface="Sun Life Sans Light" panose="02000503000000020004" pitchFamily="2" charset="77"/>
                <a:cs typeface="Calibri"/>
              </a:defRPr>
            </a:lvl1pPr>
          </a:lstStyle>
          <a:p>
            <a:r>
              <a:rPr lang="en-CA"/>
              <a:t>Presentation title </a:t>
            </a:r>
            <a:br>
              <a:rPr lang="en-CA"/>
            </a:br>
            <a:r>
              <a:rPr lang="en-CA"/>
              <a:t>is written here</a:t>
            </a:r>
            <a:endParaRPr lang="en-US"/>
          </a:p>
        </p:txBody>
      </p:sp>
      <p:sp>
        <p:nvSpPr>
          <p:cNvPr id="11" name="Content Placeholder 24">
            <a:extLst>
              <a:ext uri="{FF2B5EF4-FFF2-40B4-BE49-F238E27FC236}">
                <a16:creationId xmlns:a16="http://schemas.microsoft.com/office/drawing/2014/main" id="{8966D579-5820-3841-8B9F-2C60F1C25EE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38148" y="4093208"/>
            <a:ext cx="1755775" cy="2783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>
                <a:latin typeface="Sun Life Sans Regular" panose="02000503000000020004" pitchFamily="2" charset="77"/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CA"/>
              <a:t>Month, 20XX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A4717B39-D4AC-F142-822F-06AE799E938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17334" y="4143087"/>
            <a:ext cx="1589943" cy="6768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D95B403-F06A-4705-8334-2899A3D54B0F}"/>
              </a:ext>
            </a:extLst>
          </p:cNvPr>
          <p:cNvSpPr txBox="1"/>
          <p:nvPr userDrawn="1"/>
        </p:nvSpPr>
        <p:spPr>
          <a:xfrm>
            <a:off x="749392" y="3780105"/>
            <a:ext cx="1933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Presentation Date: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0CA8FE-B23A-4383-8E4B-008E8440B99C}"/>
              </a:ext>
            </a:extLst>
          </p:cNvPr>
          <p:cNvSpPr txBox="1"/>
          <p:nvPr userDrawn="1"/>
        </p:nvSpPr>
        <p:spPr>
          <a:xfrm>
            <a:off x="838148" y="2686990"/>
            <a:ext cx="4084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/>
              <a:t>Presenter(s)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E3D032C-A44B-4476-8839-DA2310A3D743}"/>
              </a:ext>
            </a:extLst>
          </p:cNvPr>
          <p:cNvSpPr txBox="1">
            <a:spLocks/>
          </p:cNvSpPr>
          <p:nvPr userDrawn="1"/>
        </p:nvSpPr>
        <p:spPr>
          <a:xfrm>
            <a:off x="838148" y="3081259"/>
            <a:ext cx="4179902" cy="679352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ts val="3800"/>
              </a:lnSpc>
              <a:spcBef>
                <a:spcPts val="0"/>
              </a:spcBef>
              <a:buNone/>
              <a:defRPr sz="3600" b="0" i="0" kern="1200">
                <a:solidFill>
                  <a:srgbClr val="003946"/>
                </a:solidFill>
                <a:latin typeface="Sun Life Sans Light" panose="02000503000000020004" pitchFamily="2" charset="77"/>
                <a:ea typeface="+mj-ea"/>
                <a:cs typeface="Calibri"/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endParaRPr lang="en-US" sz="180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ECA00A5F-85E2-42D4-A97A-E5D7CB3F76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148" y="2991962"/>
            <a:ext cx="4179902" cy="914400"/>
          </a:xfrm>
          <a:prstGeom prst="rect">
            <a:avLst/>
          </a:prstGeo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0899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9DB6943D-BC21-AE4E-B691-2C6D38342F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934" y="0"/>
            <a:ext cx="6885797" cy="58102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defRPr sz="2500">
                <a:latin typeface="Sun Life Sans Regular" panose="02000503000000020004" pitchFamily="2" charset="77"/>
              </a:defRPr>
            </a:lvl1pPr>
          </a:lstStyle>
          <a:p>
            <a:r>
              <a:rPr lang="en-CA"/>
              <a:t>Headline goes here </a:t>
            </a:r>
            <a:endParaRPr lang="en-US"/>
          </a:p>
        </p:txBody>
      </p:sp>
      <p:sp>
        <p:nvSpPr>
          <p:cNvPr id="8" name="Content Placeholder 14">
            <a:extLst>
              <a:ext uri="{FF2B5EF4-FFF2-40B4-BE49-F238E27FC236}">
                <a16:creationId xmlns:a16="http://schemas.microsoft.com/office/drawing/2014/main" id="{30DDAB4D-328A-D74B-BBA0-E1B5AA586D3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53934" y="581025"/>
            <a:ext cx="8236129" cy="3917823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555555"/>
                </a:solidFill>
                <a:latin typeface="Sun Life Sans Regular" panose="02000503000000020004" pitchFamily="2" charset="77"/>
              </a:defRPr>
            </a:lvl1pPr>
            <a:lvl2pPr marL="86400" indent="-122400">
              <a:buClr>
                <a:srgbClr val="EAAB00"/>
              </a:buClr>
              <a:defRPr sz="1200">
                <a:solidFill>
                  <a:srgbClr val="555555"/>
                </a:solidFill>
                <a:latin typeface="Sun Life Sans Regular" panose="02000503000000020004" pitchFamily="2" charset="77"/>
              </a:defRPr>
            </a:lvl2pPr>
            <a:lvl3pPr marL="237600" indent="-122400">
              <a:buClr>
                <a:srgbClr val="EAAB00"/>
              </a:buClr>
              <a:defRPr sz="1200">
                <a:solidFill>
                  <a:srgbClr val="555555"/>
                </a:solidFill>
                <a:latin typeface="Sun Life Sans Regular" panose="02000503000000020004" pitchFamily="2" charset="77"/>
              </a:defRPr>
            </a:lvl3pPr>
            <a:lvl4pPr marL="356400" indent="-122400">
              <a:buClr>
                <a:srgbClr val="EAAB00"/>
              </a:buClr>
              <a:defRPr sz="1200">
                <a:solidFill>
                  <a:srgbClr val="555555"/>
                </a:solidFill>
                <a:latin typeface="Sun Life Sans Regular" panose="02000503000000020004" pitchFamily="2" charset="77"/>
              </a:defRPr>
            </a:lvl4pPr>
            <a:lvl5pPr marL="478800" indent="-122400">
              <a:buClr>
                <a:srgbClr val="EAAB00"/>
              </a:buClr>
              <a:defRPr sz="1200">
                <a:solidFill>
                  <a:srgbClr val="555555"/>
                </a:solidFill>
                <a:latin typeface="Sun Life Sans Regular" panose="02000503000000020004" pitchFamily="2" charset="77"/>
              </a:defRPr>
            </a:lvl5pPr>
          </a:lstStyle>
          <a:p>
            <a:pPr lvl="0"/>
            <a:r>
              <a:rPr lang="en-CA"/>
              <a:t>Add text here</a:t>
            </a:r>
          </a:p>
          <a:p>
            <a:pPr lvl="1"/>
            <a:r>
              <a:rPr lang="en-CA"/>
              <a:t>bullet level 1</a:t>
            </a:r>
          </a:p>
          <a:p>
            <a:pPr lvl="2"/>
            <a:r>
              <a:rPr lang="en-CA"/>
              <a:t>bullet level 2</a:t>
            </a:r>
          </a:p>
          <a:p>
            <a:pPr lvl="3"/>
            <a:r>
              <a:rPr lang="en-CA"/>
              <a:t>bullet level 3</a:t>
            </a:r>
          </a:p>
          <a:p>
            <a:pPr lvl="4"/>
            <a:r>
              <a:rPr lang="en-CA"/>
              <a:t>bullet level 4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DABC691-55E5-FD4E-A670-E6ED826C39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37576" y="4781543"/>
            <a:ext cx="432285" cy="208841"/>
          </a:xfrm>
          <a:prstGeom prst="rect">
            <a:avLst/>
          </a:prstGeom>
        </p:spPr>
        <p:txBody>
          <a:bodyPr vert="horz" lIns="91440" tIns="45720" rIns="90000" bIns="45720" rtlCol="0" anchor="ctr"/>
          <a:lstStyle>
            <a:lvl1pPr algn="r">
              <a:defRPr sz="750" b="0">
                <a:solidFill>
                  <a:srgbClr val="003946"/>
                </a:solidFill>
                <a:latin typeface="Sun Life Sans Regular" panose="02000503000000020004" pitchFamily="2" charset="77"/>
                <a:cs typeface="Calibri"/>
              </a:defRPr>
            </a:lvl1pPr>
          </a:lstStyle>
          <a:p>
            <a:fld id="{CD0B62E8-4833-C84D-A86B-4CF3C4DE74F8}" type="slidenum">
              <a:rPr lang="uk-UA" smtClean="0"/>
              <a:pPr/>
              <a:t>‹#›</a:t>
            </a:fld>
            <a:endParaRPr lang="uk-UA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DFD47C4-A8A5-324A-AA43-51069F95978D}"/>
              </a:ext>
            </a:extLst>
          </p:cNvPr>
          <p:cNvSpPr txBox="1"/>
          <p:nvPr userDrawn="1"/>
        </p:nvSpPr>
        <p:spPr>
          <a:xfrm>
            <a:off x="450668" y="4789518"/>
            <a:ext cx="1036938" cy="208840"/>
          </a:xfrm>
          <a:prstGeom prst="rect">
            <a:avLst/>
          </a:prstGeom>
          <a:noFill/>
        </p:spPr>
        <p:txBody>
          <a:bodyPr wrap="square" lIns="0" rIns="72000" bIns="4680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750" b="0" i="0" spc="300" baseline="0">
                <a:solidFill>
                  <a:srgbClr val="003946"/>
                </a:solidFill>
                <a:latin typeface="Sun Life Sans Regular" panose="02000503000000020004" pitchFamily="2" charset="77"/>
                <a:cs typeface="Calibri" panose="020F0502020204030204" pitchFamily="34" charset="0"/>
              </a:rPr>
              <a:t>SUN LIFE </a:t>
            </a:r>
            <a:r>
              <a:rPr lang="en-CA" sz="750" b="0" i="0" spc="300" baseline="0">
                <a:solidFill>
                  <a:srgbClr val="FEBE10"/>
                </a:solidFill>
                <a:latin typeface="Sun Life Sans Regular" panose="02000503000000020004" pitchFamily="2" charset="77"/>
                <a:cs typeface="Calibri" panose="020F0502020204030204" pitchFamily="34" charset="0"/>
              </a:rPr>
              <a:t>•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E2249B0-5620-3D41-804D-99C5E3A6B8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90185" y="4789517"/>
            <a:ext cx="6464512" cy="200867"/>
          </a:xfrm>
          <a:prstGeom prst="rect">
            <a:avLst/>
          </a:prstGeom>
        </p:spPr>
        <p:txBody>
          <a:bodyPr lIns="0" rIns="0"/>
          <a:lstStyle>
            <a:lvl1pPr>
              <a:buFontTx/>
              <a:buNone/>
              <a:defRPr sz="750" b="0" i="0" spc="400" baseline="0">
                <a:latin typeface="Sun Life Sans Regular" panose="02000503000000020004" pitchFamily="2" charset="77"/>
              </a:defRPr>
            </a:lvl1pPr>
            <a:lvl2pPr marL="0" indent="0">
              <a:buFontTx/>
              <a:buNone/>
              <a:defRPr/>
            </a:lvl2pPr>
            <a:lvl3pPr marL="271463" indent="0">
              <a:buFontTx/>
              <a:buNone/>
              <a:defRPr/>
            </a:lvl3pPr>
            <a:lvl4pPr marL="449263" indent="0">
              <a:buFontTx/>
              <a:buNone/>
              <a:defRPr/>
            </a:lvl4pPr>
            <a:lvl5pPr marL="627063" indent="0">
              <a:buFontTx/>
              <a:buNone/>
              <a:defRPr/>
            </a:lvl5pPr>
          </a:lstStyle>
          <a:p>
            <a:pPr lvl="0"/>
            <a:r>
              <a:rPr lang="en-US"/>
              <a:t>PPT topic</a:t>
            </a:r>
          </a:p>
        </p:txBody>
      </p:sp>
    </p:spTree>
    <p:extLst>
      <p:ext uri="{BB962C8B-B14F-4D97-AF65-F5344CB8AC3E}">
        <p14:creationId xmlns:p14="http://schemas.microsoft.com/office/powerpoint/2010/main" val="3278211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DD75003-26F0-2C47-9C65-918FBB6218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017059" cy="27384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750" b="1">
                <a:solidFill>
                  <a:srgbClr val="003946"/>
                </a:solidFill>
                <a:latin typeface="Sun Life Sans Bold" panose="02000503000000020004" pitchFamily="2" charset="77"/>
                <a:cs typeface="Calibri"/>
              </a:defRPr>
            </a:lvl1pPr>
          </a:lstStyle>
          <a:p>
            <a:fld id="{CD0B62E8-4833-C84D-A86B-4CF3C4DE74F8}" type="slidenum">
              <a:rPr lang="uk-UA" smtClean="0"/>
              <a:pPr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9012593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701" r:id="rId2"/>
    <p:sldLayoutId id="2147483702" r:id="rId3"/>
    <p:sldLayoutId id="2147483707" r:id="rId4"/>
    <p:sldLayoutId id="2147483709" r:id="rId5"/>
    <p:sldLayoutId id="2147483718" r:id="rId6"/>
    <p:sldLayoutId id="2147483719" r:id="rId7"/>
    <p:sldLayoutId id="2147483680" r:id="rId8"/>
    <p:sldLayoutId id="2147483686" r:id="rId9"/>
    <p:sldLayoutId id="2147483690" r:id="rId10"/>
    <p:sldLayoutId id="2147483689" r:id="rId11"/>
    <p:sldLayoutId id="2147483704" r:id="rId12"/>
    <p:sldLayoutId id="2147483708" r:id="rId13"/>
    <p:sldLayoutId id="2147483698" r:id="rId14"/>
    <p:sldLayoutId id="2147483721" r:id="rId15"/>
    <p:sldLayoutId id="2147483720" r:id="rId16"/>
    <p:sldLayoutId id="2147483724" r:id="rId17"/>
    <p:sldLayoutId id="2147483723" r:id="rId18"/>
    <p:sldLayoutId id="2147483722" r:id="rId19"/>
    <p:sldLayoutId id="2147483710" r:id="rId20"/>
    <p:sldLayoutId id="2147483711" r:id="rId21"/>
    <p:sldLayoutId id="2147483713" r:id="rId22"/>
    <p:sldLayoutId id="2147483717" r:id="rId23"/>
    <p:sldLayoutId id="2147483715" r:id="rId24"/>
    <p:sldLayoutId id="2147483725" r:id="rId25"/>
    <p:sldLayoutId id="2147483726" r:id="rId26"/>
    <p:sldLayoutId id="2147483684" r:id="rId27"/>
    <p:sldLayoutId id="2147483712" r:id="rId28"/>
    <p:sldLayoutId id="2147483691" r:id="rId29"/>
    <p:sldLayoutId id="2147483789" r:id="rId30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800" kern="1200">
          <a:solidFill>
            <a:srgbClr val="003946"/>
          </a:solidFill>
          <a:latin typeface="Calibri"/>
          <a:ea typeface="+mj-ea"/>
          <a:cs typeface="Calibri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1800" kern="1200">
          <a:solidFill>
            <a:srgbClr val="003946"/>
          </a:solidFill>
          <a:latin typeface="Calibri"/>
          <a:ea typeface="+mn-ea"/>
          <a:cs typeface="Calibri"/>
        </a:defRPr>
      </a:lvl1pPr>
      <a:lvl2pPr marL="271463" indent="-271463" algn="l" defTabSz="457200" rtl="0" eaLnBrk="1" latinLnBrk="0" hangingPunct="1">
        <a:spcBef>
          <a:spcPct val="20000"/>
        </a:spcBef>
        <a:buClr>
          <a:srgbClr val="EAAB00"/>
        </a:buClr>
        <a:buFont typeface="Arial"/>
        <a:buChar char="•"/>
        <a:tabLst/>
        <a:defRPr sz="1400" kern="1200">
          <a:solidFill>
            <a:srgbClr val="003946"/>
          </a:solidFill>
          <a:latin typeface="Calibri"/>
          <a:ea typeface="+mn-ea"/>
          <a:cs typeface="Calibri"/>
        </a:defRPr>
      </a:lvl2pPr>
      <a:lvl3pPr marL="449263" indent="-177800" algn="l" defTabSz="457200" rtl="0" eaLnBrk="1" latinLnBrk="0" hangingPunct="1">
        <a:spcBef>
          <a:spcPct val="20000"/>
        </a:spcBef>
        <a:buClr>
          <a:srgbClr val="EAAB00"/>
        </a:buClr>
        <a:buFont typeface="Arial"/>
        <a:buChar char="•"/>
        <a:tabLst/>
        <a:defRPr sz="1400" kern="1200">
          <a:solidFill>
            <a:srgbClr val="003946"/>
          </a:solidFill>
          <a:latin typeface="Calibri"/>
          <a:ea typeface="+mn-ea"/>
          <a:cs typeface="Calibri"/>
        </a:defRPr>
      </a:lvl3pPr>
      <a:lvl4pPr marL="627063" indent="-177800" algn="l" defTabSz="457200" rtl="0" eaLnBrk="1" latinLnBrk="0" hangingPunct="1">
        <a:spcBef>
          <a:spcPct val="20000"/>
        </a:spcBef>
        <a:buClr>
          <a:srgbClr val="EAAB00"/>
        </a:buClr>
        <a:buFont typeface="Arial"/>
        <a:buChar char="•"/>
        <a:tabLst/>
        <a:defRPr sz="1400" kern="1200">
          <a:solidFill>
            <a:srgbClr val="003946"/>
          </a:solidFill>
          <a:latin typeface="Calibri"/>
          <a:ea typeface="+mn-ea"/>
          <a:cs typeface="Calibri"/>
        </a:defRPr>
      </a:lvl4pPr>
      <a:lvl5pPr marL="804863" indent="-177800" algn="l" defTabSz="457200" rtl="0" eaLnBrk="1" latinLnBrk="0" hangingPunct="1">
        <a:spcBef>
          <a:spcPct val="20000"/>
        </a:spcBef>
        <a:buClr>
          <a:srgbClr val="EAAB00"/>
        </a:buClr>
        <a:buFont typeface="Arial"/>
        <a:buChar char="•"/>
        <a:tabLst/>
        <a:defRPr sz="1400" kern="1200">
          <a:solidFill>
            <a:srgbClr val="003946"/>
          </a:solidFill>
          <a:latin typeface="Calibri"/>
          <a:ea typeface="+mn-ea"/>
          <a:cs typeface="Calibri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08FD473-2B93-44C1-B07B-96912F25CC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921145-3075-46B6-ACEB-A2A000ED96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62AC48-A5CB-4900-965F-B2F8C760A58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472C59-B924-4B7C-85F3-0FC7330565BD}" type="datetimeFigureOut">
              <a:rPr lang="en-CA" smtClean="0"/>
              <a:t>2023-03-22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7465D9-65E0-49CC-A3FB-2861E6F51E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3D04F8-E1ED-4A13-9117-AEB5A79A12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65C878-ED38-4EB4-A290-4E9319A3D87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96291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771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08FD473-2B93-44C1-B07B-96912F25CC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921145-3075-46B6-ACEB-A2A000ED96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62AC48-A5CB-4900-965F-B2F8C760A58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472C59-B924-4B7C-85F3-0FC7330565BD}" type="datetimeFigureOut">
              <a:rPr lang="en-CA" smtClean="0"/>
              <a:t>2023-03-22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7465D9-65E0-49CC-A3FB-2861E6F51E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3D04F8-E1ED-4A13-9117-AEB5A79A12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65C878-ED38-4EB4-A290-4E9319A3D87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512864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3" r:id="rId9"/>
    <p:sldLayoutId id="2147483784" r:id="rId10"/>
    <p:sldLayoutId id="2147483785" r:id="rId11"/>
    <p:sldLayoutId id="2147483786" r:id="rId12"/>
    <p:sldLayoutId id="2147483787" r:id="rId13"/>
    <p:sldLayoutId id="2147483788" r:id="rId14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13" Type="http://schemas.openxmlformats.org/officeDocument/2006/relationships/image" Target="../media/image53.png"/><Relationship Id="rId18" Type="http://schemas.openxmlformats.org/officeDocument/2006/relationships/image" Target="../media/image58.png"/><Relationship Id="rId3" Type="http://schemas.openxmlformats.org/officeDocument/2006/relationships/image" Target="../media/image43.png"/><Relationship Id="rId21" Type="http://schemas.openxmlformats.org/officeDocument/2006/relationships/image" Target="../media/image61.png"/><Relationship Id="rId7" Type="http://schemas.openxmlformats.org/officeDocument/2006/relationships/image" Target="../media/image47.svg"/><Relationship Id="rId12" Type="http://schemas.openxmlformats.org/officeDocument/2006/relationships/image" Target="../media/image52.png"/><Relationship Id="rId17" Type="http://schemas.openxmlformats.org/officeDocument/2006/relationships/image" Target="../media/image57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56.svg"/><Relationship Id="rId20" Type="http://schemas.openxmlformats.org/officeDocument/2006/relationships/image" Target="../media/image60.pn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46.png"/><Relationship Id="rId11" Type="http://schemas.openxmlformats.org/officeDocument/2006/relationships/image" Target="../media/image51.png"/><Relationship Id="rId5" Type="http://schemas.openxmlformats.org/officeDocument/2006/relationships/image" Target="../media/image45.png"/><Relationship Id="rId15" Type="http://schemas.openxmlformats.org/officeDocument/2006/relationships/image" Target="../media/image55.png"/><Relationship Id="rId10" Type="http://schemas.openxmlformats.org/officeDocument/2006/relationships/image" Target="../media/image50.png"/><Relationship Id="rId19" Type="http://schemas.openxmlformats.org/officeDocument/2006/relationships/image" Target="../media/image59.png"/><Relationship Id="rId4" Type="http://schemas.openxmlformats.org/officeDocument/2006/relationships/image" Target="../media/image44.png"/><Relationship Id="rId9" Type="http://schemas.openxmlformats.org/officeDocument/2006/relationships/image" Target="../media/image49.png"/><Relationship Id="rId14" Type="http://schemas.openxmlformats.org/officeDocument/2006/relationships/image" Target="../media/image54.png"/><Relationship Id="rId22" Type="http://schemas.openxmlformats.org/officeDocument/2006/relationships/image" Target="../media/image6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6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jp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DFAF48-F0C7-445E-9152-2AB70E02E76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F112F5-F5E6-4AE1-95E0-A1F01F99D29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DB15EA5-965B-7183-0EB5-E90D9DECFD36}"/>
              </a:ext>
            </a:extLst>
          </p:cNvPr>
          <p:cNvSpPr txBox="1"/>
          <p:nvPr/>
        </p:nvSpPr>
        <p:spPr>
          <a:xfrm>
            <a:off x="838148" y="1932801"/>
            <a:ext cx="457200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TG Fast Path/PAA/RTAB/ETAB Presentation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mplate Version – </a:t>
            </a:r>
            <a:r>
              <a:rPr lang="en-US" sz="1200">
                <a:solidFill>
                  <a:prstClr val="black"/>
                </a:solidFill>
                <a:latin typeface="Calibri"/>
              </a:rPr>
              <a:t>March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023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68ADBD7-5B2C-D28D-8934-B61A2193A36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IN"/>
              <a:t>Sun Life Next Best Offer – NBO</a:t>
            </a:r>
          </a:p>
        </p:txBody>
      </p:sp>
    </p:spTree>
    <p:extLst>
      <p:ext uri="{BB962C8B-B14F-4D97-AF65-F5344CB8AC3E}">
        <p14:creationId xmlns:p14="http://schemas.microsoft.com/office/powerpoint/2010/main" val="9273785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735E69E-25AC-431E-83EC-0587E2546C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Appendix &amp; Supplemental Slides</a:t>
            </a:r>
          </a:p>
        </p:txBody>
      </p:sp>
    </p:spTree>
    <p:extLst>
      <p:ext uri="{BB962C8B-B14F-4D97-AF65-F5344CB8AC3E}">
        <p14:creationId xmlns:p14="http://schemas.microsoft.com/office/powerpoint/2010/main" val="10810287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0F127AD-9171-40C2-87D4-C40739DFA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ppendix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E8BF43-5A1B-490F-A038-BB32C60383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D0B62E8-4833-C84D-A86B-4CF3C4DE74F8}" type="slidenum">
              <a:rPr lang="uk-UA" smtClean="0"/>
              <a:pPr/>
              <a:t>11</a:t>
            </a:fld>
            <a:endParaRPr lang="uk-UA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8F7ADF1-DF3F-4E80-B1BE-6784343CE6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188C9446-4E8D-28C6-6073-B2CAD5E12E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7289821"/>
              </p:ext>
            </p:extLst>
          </p:nvPr>
        </p:nvGraphicFramePr>
        <p:xfrm>
          <a:off x="161611" y="571036"/>
          <a:ext cx="8820778" cy="159386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38978">
                  <a:extLst>
                    <a:ext uri="{9D8B030D-6E8A-4147-A177-3AD203B41FA5}">
                      <a16:colId xmlns:a16="http://schemas.microsoft.com/office/drawing/2014/main" val="3164636052"/>
                    </a:ext>
                  </a:extLst>
                </a:gridCol>
                <a:gridCol w="6381800">
                  <a:extLst>
                    <a:ext uri="{9D8B030D-6E8A-4147-A177-3AD203B41FA5}">
                      <a16:colId xmlns:a16="http://schemas.microsoft.com/office/drawing/2014/main" val="918408294"/>
                    </a:ext>
                  </a:extLst>
                </a:gridCol>
              </a:tblGrid>
              <a:tr h="335235">
                <a:tc>
                  <a:txBody>
                    <a:bodyPr/>
                    <a:lstStyle/>
                    <a:p>
                      <a:r>
                        <a:rPr lang="en-IN" sz="1100" b="1">
                          <a:effectLst/>
                        </a:rPr>
                        <a:t>Topic</a:t>
                      </a:r>
                      <a:endParaRPr lang="en-IN" sz="11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IN" sz="1100" b="1">
                          <a:effectLst/>
                        </a:rPr>
                        <a:t>Query / Comments</a:t>
                      </a:r>
                      <a:endParaRPr lang="en-IN" sz="11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906668360"/>
                  </a:ext>
                </a:extLst>
              </a:tr>
              <a:tr h="521498">
                <a:tc>
                  <a:txBody>
                    <a:bodyPr/>
                    <a:lstStyle/>
                    <a:p>
                      <a:r>
                        <a:rPr lang="en-IN" sz="900" b="1">
                          <a:effectLst/>
                          <a:latin typeface="+mn-lt"/>
                        </a:rPr>
                        <a:t>Available AWS Infrastructure</a:t>
                      </a:r>
                      <a:endParaRPr lang="en-IN" sz="900" b="1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IN" sz="900">
                          <a:effectLst/>
                          <a:latin typeface="+mn-lt"/>
                        </a:rPr>
                        <a:t>Network setup for access over intranet – e.g.: virtual private gateway, etc.</a:t>
                      </a:r>
                    </a:p>
                    <a:p>
                      <a:r>
                        <a:rPr lang="en-IN" sz="900" i="1">
                          <a:effectLst/>
                          <a:latin typeface="+mn-lt"/>
                        </a:rPr>
                        <a:t>Direct Connect is established </a:t>
                      </a:r>
                      <a:r>
                        <a:rPr lang="en-US" sz="900" i="1">
                          <a:effectLst/>
                          <a:latin typeface="+mn-lt"/>
                        </a:rPr>
                        <a:t>between Sun Life and AWS Singapore region.</a:t>
                      </a:r>
                      <a:endParaRPr lang="en-IN" sz="900" i="1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900268628"/>
                  </a:ext>
                </a:extLst>
              </a:tr>
              <a:tr h="325652">
                <a:tc>
                  <a:txBody>
                    <a:bodyPr/>
                    <a:lstStyle/>
                    <a:p>
                      <a:r>
                        <a:rPr lang="en-IN" sz="900" b="1">
                          <a:effectLst/>
                          <a:latin typeface="+mn-lt"/>
                        </a:rPr>
                        <a:t>AWS Infrastructure Provisioning</a:t>
                      </a:r>
                      <a:endParaRPr lang="en-IN" sz="900" b="1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IN" sz="900">
                          <a:effectLst/>
                          <a:latin typeface="+mn-lt"/>
                          <a:ea typeface="Calibri" panose="020F0502020204030204" pitchFamily="34" charset="0"/>
                        </a:rPr>
                        <a:t>Team responsible for provisioning </a:t>
                      </a:r>
                      <a:r>
                        <a:rPr lang="en-US" sz="900">
                          <a:effectLst/>
                          <a:latin typeface="+mn-lt"/>
                          <a:ea typeface="Calibri" panose="020F0502020204030204" pitchFamily="34" charset="0"/>
                        </a:rPr>
                        <a:t>/ setting up initial AWS infrastructure –</a:t>
                      </a:r>
                    </a:p>
                    <a:p>
                      <a:r>
                        <a:rPr lang="en-US" sz="900">
                          <a:effectLst/>
                          <a:latin typeface="+mn-lt"/>
                          <a:ea typeface="Calibri" panose="020F0502020204030204" pitchFamily="34" charset="0"/>
                        </a:rPr>
                        <a:t>e.g.: the networking services like VPC, Security Groups</a:t>
                      </a:r>
                      <a:endParaRPr lang="en-IN" sz="90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  <a:p>
                      <a:r>
                        <a:rPr lang="en-IN" sz="900" i="1">
                          <a:effectLst/>
                          <a:latin typeface="+mn-lt"/>
                          <a:ea typeface="Calibri" panose="020F0502020204030204" pitchFamily="34" charset="0"/>
                        </a:rPr>
                        <a:t>Sun Life or Admin access to Fractal Team?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479256116"/>
                  </a:ext>
                </a:extLst>
              </a:tr>
              <a:tr h="325652">
                <a:tc>
                  <a:txBody>
                    <a:bodyPr/>
                    <a:lstStyle/>
                    <a:p>
                      <a:r>
                        <a:rPr lang="en-IN" sz="900" b="1">
                          <a:effectLst/>
                          <a:latin typeface="+mn-lt"/>
                          <a:ea typeface="Calibri" panose="020F0502020204030204" pitchFamily="34" charset="0"/>
                        </a:rPr>
                        <a:t>CICD Pipeline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IN" sz="900" i="0">
                          <a:effectLst/>
                          <a:latin typeface="+mn-lt"/>
                          <a:ea typeface="Calibri" panose="020F0502020204030204" pitchFamily="34" charset="0"/>
                        </a:rPr>
                        <a:t>Is CICD setup available?</a:t>
                      </a:r>
                    </a:p>
                    <a:p>
                      <a:r>
                        <a:rPr lang="en-IN" sz="900" i="1">
                          <a:effectLst/>
                          <a:latin typeface="+mn-lt"/>
                          <a:ea typeface="Calibri" panose="020F0502020204030204" pitchFamily="34" charset="0"/>
                        </a:rPr>
                        <a:t>AWS Code Pipeline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6533111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04089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0F127AD-9171-40C2-87D4-C40739DFA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upplemental Slid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9145669-39E8-4E9D-B5B5-9E2D8FDFAD75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E8BF43-5A1B-490F-A038-BB32C60383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D0B62E8-4833-C84D-A86B-4CF3C4DE74F8}" type="slidenum">
              <a:rPr lang="uk-UA" smtClean="0"/>
              <a:pPr/>
              <a:t>12</a:t>
            </a:fld>
            <a:endParaRPr lang="uk-UA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8F7ADF1-DF3F-4E80-B1BE-6784343CE6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23420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93142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C3AEA4-C865-E549-8713-2D0A1F3D62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8656" y="0"/>
            <a:ext cx="8802322" cy="450942"/>
          </a:xfrm>
        </p:spPr>
        <p:txBody>
          <a:bodyPr>
            <a:normAutofit fontScale="90000"/>
          </a:bodyPr>
          <a:lstStyle/>
          <a:p>
            <a:r>
              <a:rPr lang="en-US" sz="2700">
                <a:ea typeface="+mj-lt"/>
                <a:cs typeface="+mj-lt"/>
              </a:rPr>
              <a:t>Sun Life Next Best Offer – NBO</a:t>
            </a:r>
            <a:endParaRPr lang="en-US" sz="2700">
              <a:solidFill>
                <a:schemeClr val="bg2">
                  <a:lumMod val="50000"/>
                </a:schemeClr>
              </a:solidFill>
            </a:endParaRPr>
          </a:p>
        </p:txBody>
      </p:sp>
      <p:graphicFrame>
        <p:nvGraphicFramePr>
          <p:cNvPr id="18" name="Table 18">
            <a:extLst>
              <a:ext uri="{FF2B5EF4-FFF2-40B4-BE49-F238E27FC236}">
                <a16:creationId xmlns:a16="http://schemas.microsoft.com/office/drawing/2014/main" id="{C4D1A77E-2FEB-C94D-B7E0-5B3B8F2A80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98670"/>
              </p:ext>
            </p:extLst>
          </p:nvPr>
        </p:nvGraphicFramePr>
        <p:xfrm>
          <a:off x="208656" y="384507"/>
          <a:ext cx="4444354" cy="4560966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4444354">
                  <a:extLst>
                    <a:ext uri="{9D8B030D-6E8A-4147-A177-3AD203B41FA5}">
                      <a16:colId xmlns:a16="http://schemas.microsoft.com/office/drawing/2014/main" val="1895511078"/>
                    </a:ext>
                  </a:extLst>
                </a:gridCol>
              </a:tblGrid>
              <a:tr h="230309">
                <a:tc>
                  <a:txBody>
                    <a:bodyPr/>
                    <a:lstStyle/>
                    <a:p>
                      <a:r>
                        <a:rPr lang="en-US" sz="1000"/>
                        <a:t>Project Overview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600724133"/>
                  </a:ext>
                </a:extLst>
              </a:tr>
              <a:tr h="433065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>
                          <a:solidFill>
                            <a:schemeClr val="tx1"/>
                          </a:solidFill>
                        </a:rPr>
                        <a:t>Background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Sun Life Asia wants to –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Improve their cross-sell / up-sell strategy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Build a comprehensive Next Best Offer (NBO) framework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Develop an automated ML based platform and comprehensive Next Best Offer (NBO) product for resell and bank partner data modules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endParaRPr lang="en-US" sz="90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900" b="1"/>
                        <a:t>Solution Overview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900" kern="120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n AIML product with a Web UI for ease of access to various users. The pipeline will include –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kern="120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 Champion Model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kern="120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ata Generation – Customer 360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kern="120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roduct – Web Interface</a:t>
                      </a:r>
                    </a:p>
                    <a:p>
                      <a:pPr marL="0" lvl="0" indent="0">
                        <a:buNone/>
                      </a:pPr>
                      <a:endParaRPr lang="en-US" sz="9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lvl="0" indent="0">
                        <a:buNone/>
                      </a:pPr>
                      <a:r>
                        <a:rPr lang="en-US" sz="9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ey Goals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kern="120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ecommend Next Best Offer for every customer at the right frequency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kern="120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roduct with interfaces to various downstream applications and digital enabled tools that can be deployed across geographies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kern="120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or Business users – Champion model profiling across C360 attributes like Age groups etc.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kern="120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or Data Science users – Champion model performance and stability output, ability to select attributes from C360 attributes and retrain the champion model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kern="120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onnectors to identified activation platform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935715625"/>
                  </a:ext>
                </a:extLst>
              </a:tr>
            </a:tbl>
          </a:graphicData>
        </a:graphic>
      </p:graphicFrame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4E999FE9-BDAD-5E44-AF03-3B09A5C793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5384812"/>
              </p:ext>
            </p:extLst>
          </p:nvPr>
        </p:nvGraphicFramePr>
        <p:xfrm>
          <a:off x="4653009" y="384507"/>
          <a:ext cx="4357969" cy="4547427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4357969">
                  <a:extLst>
                    <a:ext uri="{9D8B030D-6E8A-4147-A177-3AD203B41FA5}">
                      <a16:colId xmlns:a16="http://schemas.microsoft.com/office/drawing/2014/main" val="1895511078"/>
                    </a:ext>
                  </a:extLst>
                </a:gridCol>
              </a:tblGrid>
              <a:tr h="224552">
                <a:tc>
                  <a:txBody>
                    <a:bodyPr/>
                    <a:lstStyle/>
                    <a:p>
                      <a:r>
                        <a:rPr lang="en-US" sz="1000"/>
                        <a:t>Financial Overview –  Rachit/Celia – </a:t>
                      </a:r>
                      <a:r>
                        <a:rPr lang="en-US" sz="1000" i="1"/>
                        <a:t>TBD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600724133"/>
                  </a:ext>
                </a:extLst>
              </a:tr>
              <a:tr h="3915648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900" i="1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Include summary of Financial requirements;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900" i="1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Indicate if you seeking financial approval;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900" i="1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Must include any future state Operational cost considerations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1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NOTE</a:t>
                      </a:r>
                      <a:r>
                        <a:rPr lang="en-US" sz="900" i="1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: Itemize and separate for any internal and external cost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900" i="1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900" i="1"/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900" i="1"/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900" i="1"/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900" i="1"/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900" i="1"/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900" i="1"/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900" i="1"/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900" i="1"/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900" i="1"/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0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935715625"/>
                  </a:ext>
                </a:extLst>
              </a:tr>
              <a:tr h="407227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0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340553047"/>
                  </a:ext>
                </a:extLst>
              </a:tr>
            </a:tbl>
          </a:graphicData>
        </a:graphic>
      </p:graphicFrame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52B1BDEB-0689-284F-A0B8-4C929012D8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0255354"/>
              </p:ext>
            </p:extLst>
          </p:nvPr>
        </p:nvGraphicFramePr>
        <p:xfrm>
          <a:off x="4653010" y="2733768"/>
          <a:ext cx="4366356" cy="2211705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4366356">
                  <a:extLst>
                    <a:ext uri="{9D8B030D-6E8A-4147-A177-3AD203B41FA5}">
                      <a16:colId xmlns:a16="http://schemas.microsoft.com/office/drawing/2014/main" val="1895511078"/>
                    </a:ext>
                  </a:extLst>
                </a:gridCol>
              </a:tblGrid>
              <a:tr h="254444">
                <a:tc>
                  <a:txBody>
                    <a:bodyPr/>
                    <a:lstStyle/>
                    <a:p>
                      <a:r>
                        <a:rPr lang="en-US" sz="1000"/>
                        <a:t>Domain Certification Overview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600724133"/>
                  </a:ext>
                </a:extLst>
              </a:tr>
              <a:tr h="1957261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90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90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90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90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90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90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90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90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90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90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90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Certification Status = Approved, In-Progress or Not Required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935715625"/>
                  </a:ext>
                </a:extLst>
              </a:tr>
            </a:tbl>
          </a:graphicData>
        </a:graphic>
      </p:graphicFrame>
      <p:graphicFrame>
        <p:nvGraphicFramePr>
          <p:cNvPr id="3" name="Table 5">
            <a:extLst>
              <a:ext uri="{FF2B5EF4-FFF2-40B4-BE49-F238E27FC236}">
                <a16:creationId xmlns:a16="http://schemas.microsoft.com/office/drawing/2014/main" id="{25116F2C-701B-4EC5-AEF7-50D762DAB6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558558"/>
              </p:ext>
            </p:extLst>
          </p:nvPr>
        </p:nvGraphicFramePr>
        <p:xfrm>
          <a:off x="4800990" y="3067355"/>
          <a:ext cx="4037484" cy="123444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418326">
                  <a:extLst>
                    <a:ext uri="{9D8B030D-6E8A-4147-A177-3AD203B41FA5}">
                      <a16:colId xmlns:a16="http://schemas.microsoft.com/office/drawing/2014/main" val="558381986"/>
                    </a:ext>
                  </a:extLst>
                </a:gridCol>
                <a:gridCol w="1563554">
                  <a:extLst>
                    <a:ext uri="{9D8B030D-6E8A-4147-A177-3AD203B41FA5}">
                      <a16:colId xmlns:a16="http://schemas.microsoft.com/office/drawing/2014/main" val="4284653087"/>
                    </a:ext>
                  </a:extLst>
                </a:gridCol>
                <a:gridCol w="1055604">
                  <a:extLst>
                    <a:ext uri="{9D8B030D-6E8A-4147-A177-3AD203B41FA5}">
                      <a16:colId xmlns:a16="http://schemas.microsoft.com/office/drawing/2014/main" val="2572255975"/>
                    </a:ext>
                  </a:extLst>
                </a:gridCol>
              </a:tblGrid>
              <a:tr h="205740">
                <a:tc>
                  <a:txBody>
                    <a:bodyPr/>
                    <a:lstStyle/>
                    <a:p>
                      <a:r>
                        <a:rPr lang="en-US" sz="900"/>
                        <a:t>Domain Certification Area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Certifier Name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Certification Status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153772959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r>
                        <a:rPr lang="en-US" sz="900"/>
                        <a:t>Application Architecture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18792639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r>
                        <a:rPr lang="en-US" sz="900"/>
                        <a:t>InfoSec (ISRA Number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582660009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r>
                        <a:rPr lang="en-US" sz="900"/>
                        <a:t>Etc…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143780479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123406934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362919877"/>
                  </a:ext>
                </a:extLst>
              </a:tr>
            </a:tbl>
          </a:graphicData>
        </a:graphic>
      </p:graphicFrame>
      <p:graphicFrame>
        <p:nvGraphicFramePr>
          <p:cNvPr id="10" name="Table 5">
            <a:extLst>
              <a:ext uri="{FF2B5EF4-FFF2-40B4-BE49-F238E27FC236}">
                <a16:creationId xmlns:a16="http://schemas.microsoft.com/office/drawing/2014/main" id="{3C593B78-CB79-4571-873E-D237ACB9C737}"/>
              </a:ext>
            </a:extLst>
          </p:cNvPr>
          <p:cNvGraphicFramePr>
            <a:graphicFrameLocks noGrp="1"/>
          </p:cNvGraphicFramePr>
          <p:nvPr/>
        </p:nvGraphicFramePr>
        <p:xfrm>
          <a:off x="4800990" y="1416826"/>
          <a:ext cx="4037484" cy="123444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903358">
                  <a:extLst>
                    <a:ext uri="{9D8B030D-6E8A-4147-A177-3AD203B41FA5}">
                      <a16:colId xmlns:a16="http://schemas.microsoft.com/office/drawing/2014/main" val="558381986"/>
                    </a:ext>
                  </a:extLst>
                </a:gridCol>
                <a:gridCol w="1134126">
                  <a:extLst>
                    <a:ext uri="{9D8B030D-6E8A-4147-A177-3AD203B41FA5}">
                      <a16:colId xmlns:a16="http://schemas.microsoft.com/office/drawing/2014/main" val="2572255975"/>
                    </a:ext>
                  </a:extLst>
                </a:gridCol>
              </a:tblGrid>
              <a:tr h="205740">
                <a:tc>
                  <a:txBody>
                    <a:bodyPr/>
                    <a:lstStyle/>
                    <a:p>
                      <a:r>
                        <a:rPr lang="en-US" sz="900"/>
                        <a:t>Cost Description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900"/>
                        <a:t>Project Cost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153772959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18792639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582660009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143780479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123406934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r>
                        <a:rPr lang="en-US" sz="900"/>
                        <a:t>Total Project Cos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3629198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41918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675AA585-E0A6-E044-6648-2E8C4AE6C208}"/>
              </a:ext>
            </a:extLst>
          </p:cNvPr>
          <p:cNvCxnSpPr>
            <a:cxnSpLocks/>
            <a:stCxn id="149" idx="2"/>
            <a:endCxn id="132" idx="2"/>
          </p:cNvCxnSpPr>
          <p:nvPr/>
        </p:nvCxnSpPr>
        <p:spPr>
          <a:xfrm rot="5400000" flipH="1" flipV="1">
            <a:off x="6761281" y="2194367"/>
            <a:ext cx="1477264" cy="2448894"/>
          </a:xfrm>
          <a:prstGeom prst="bentConnector3">
            <a:avLst>
              <a:gd name="adj1" fmla="val -15475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90C91862-EE9C-CC8E-5610-11558344BE4A}"/>
              </a:ext>
            </a:extLst>
          </p:cNvPr>
          <p:cNvGrpSpPr/>
          <p:nvPr/>
        </p:nvGrpSpPr>
        <p:grpSpPr>
          <a:xfrm>
            <a:off x="6046637" y="1380192"/>
            <a:ext cx="1416949" cy="1207179"/>
            <a:chOff x="3102358" y="1383039"/>
            <a:chExt cx="2984341" cy="2101144"/>
          </a:xfrm>
        </p:grpSpPr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3795A50A-53AC-8CB4-D300-BE57D295892E}"/>
                </a:ext>
              </a:extLst>
            </p:cNvPr>
            <p:cNvSpPr txBox="1"/>
            <p:nvPr/>
          </p:nvSpPr>
          <p:spPr>
            <a:xfrm>
              <a:off x="4183133" y="1383039"/>
              <a:ext cx="1903566" cy="361596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txBody>
            <a:bodyPr wrap="square" rtlCol="0">
              <a:spAutoFit/>
            </a:bodyPr>
            <a:lstStyle/>
            <a:p>
              <a:pPr defTabSz="685800">
                <a:defRPr/>
              </a:pPr>
              <a:r>
                <a:rPr lang="en-IN" sz="750" b="1">
                  <a:latin typeface="Calibri" panose="020F0502020204030204" pitchFamily="34" charset="0"/>
                  <a:ea typeface="Calibri" panose="020F0502020204030204" pitchFamily="34" charset="0"/>
                </a:rPr>
                <a:t>Security Group 2</a:t>
              </a:r>
              <a:endParaRPr lang="en-US" sz="750" b="1">
                <a:latin typeface="Calibri"/>
              </a:endParaRPr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2FCECE1C-B6E9-DEE1-FC2E-CA5D764AF02B}"/>
                </a:ext>
              </a:extLst>
            </p:cNvPr>
            <p:cNvSpPr/>
            <p:nvPr/>
          </p:nvSpPr>
          <p:spPr>
            <a:xfrm>
              <a:off x="3102358" y="1477646"/>
              <a:ext cx="2699581" cy="2006537"/>
            </a:xfrm>
            <a:prstGeom prst="rect">
              <a:avLst/>
            </a:prstGeom>
            <a:noFill/>
            <a:ln w="12700">
              <a:solidFill>
                <a:srgbClr val="FF000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77190" tIns="68580"/>
            <a:lstStyle/>
            <a:p>
              <a:pPr>
                <a:defRPr/>
              </a:pPr>
              <a:r>
                <a:rPr lang="en-US" sz="75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      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E91A093-5773-31C9-FD89-2225C08FCA3E}"/>
              </a:ext>
            </a:extLst>
          </p:cNvPr>
          <p:cNvGrpSpPr/>
          <p:nvPr/>
        </p:nvGrpSpPr>
        <p:grpSpPr>
          <a:xfrm>
            <a:off x="1497839" y="2742342"/>
            <a:ext cx="721735" cy="577827"/>
            <a:chOff x="112794" y="2084684"/>
            <a:chExt cx="962313" cy="770437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AA83CC61-F3EC-AF33-D1DD-7C5C24D64C06}"/>
                </a:ext>
              </a:extLst>
            </p:cNvPr>
            <p:cNvSpPr txBox="1"/>
            <p:nvPr/>
          </p:nvSpPr>
          <p:spPr>
            <a:xfrm>
              <a:off x="112794" y="2424234"/>
              <a:ext cx="962313" cy="430887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txBody>
            <a:bodyPr wrap="square" rtlCol="0">
              <a:spAutoFit/>
            </a:bodyPr>
            <a:lstStyle/>
            <a:p>
              <a:pPr algn="ctr" defTabSz="685800">
                <a:defRPr/>
              </a:pPr>
              <a:r>
                <a:rPr lang="en-US" sz="750">
                  <a:latin typeface="Calibri"/>
                </a:rPr>
                <a:t>Direct Connect</a:t>
              </a:r>
            </a:p>
          </p:txBody>
        </p:sp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67FF5E16-00C7-595C-F89F-053D48E5310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03863" y="2084684"/>
              <a:ext cx="368139" cy="411151"/>
            </a:xfrm>
            <a:prstGeom prst="rect">
              <a:avLst/>
            </a:prstGeom>
          </p:spPr>
        </p:pic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404A716C-2620-87BB-5096-7B702384C940}"/>
              </a:ext>
            </a:extLst>
          </p:cNvPr>
          <p:cNvGrpSpPr/>
          <p:nvPr/>
        </p:nvGrpSpPr>
        <p:grpSpPr>
          <a:xfrm>
            <a:off x="2025561" y="2746165"/>
            <a:ext cx="721735" cy="700552"/>
            <a:chOff x="1414908" y="3656783"/>
            <a:chExt cx="962313" cy="934068"/>
          </a:xfrm>
        </p:grpSpPr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A3BF0D28-4C16-B508-AD5B-0DF0267F36FF}"/>
                </a:ext>
              </a:extLst>
            </p:cNvPr>
            <p:cNvSpPr txBox="1"/>
            <p:nvPr/>
          </p:nvSpPr>
          <p:spPr>
            <a:xfrm>
              <a:off x="1414908" y="4006076"/>
              <a:ext cx="962313" cy="584775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txBody>
            <a:bodyPr wrap="square" rtlCol="0">
              <a:spAutoFit/>
            </a:bodyPr>
            <a:lstStyle/>
            <a:p>
              <a:pPr algn="ctr" defTabSz="685800">
                <a:defRPr/>
              </a:pPr>
              <a:r>
                <a:rPr lang="en-US" sz="750">
                  <a:latin typeface="Calibri"/>
                </a:rPr>
                <a:t>Direct Connect Gateway</a:t>
              </a:r>
            </a:p>
          </p:txBody>
        </p:sp>
        <p:pic>
          <p:nvPicPr>
            <p:cNvPr id="65" name="Graphic 7">
              <a:extLst>
                <a:ext uri="{FF2B5EF4-FFF2-40B4-BE49-F238E27FC236}">
                  <a16:creationId xmlns:a16="http://schemas.microsoft.com/office/drawing/2014/main" id="{9752C912-C67E-7AEE-7314-AEB75FBB740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12015" y="3656783"/>
              <a:ext cx="373402" cy="40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1CAAE796-D7EB-8206-09FC-F70C2EEC838B}"/>
              </a:ext>
            </a:extLst>
          </p:cNvPr>
          <p:cNvGrpSpPr/>
          <p:nvPr/>
        </p:nvGrpSpPr>
        <p:grpSpPr>
          <a:xfrm>
            <a:off x="2103557" y="1864234"/>
            <a:ext cx="555055" cy="589796"/>
            <a:chOff x="2434601" y="3664785"/>
            <a:chExt cx="740073" cy="786395"/>
          </a:xfrm>
        </p:grpSpPr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1DDF5FA3-042D-1C0D-218E-B89849FD6903}"/>
                </a:ext>
              </a:extLst>
            </p:cNvPr>
            <p:cNvSpPr txBox="1"/>
            <p:nvPr/>
          </p:nvSpPr>
          <p:spPr>
            <a:xfrm>
              <a:off x="2434601" y="4020293"/>
              <a:ext cx="740073" cy="430887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txBody>
            <a:bodyPr wrap="square" rtlCol="0">
              <a:spAutoFit/>
            </a:bodyPr>
            <a:lstStyle/>
            <a:p>
              <a:pPr algn="ctr" defTabSz="685800">
                <a:defRPr/>
              </a:pPr>
              <a:r>
                <a:rPr lang="en-US" sz="750">
                  <a:latin typeface="Calibri"/>
                </a:rPr>
                <a:t>Transit Gateway</a:t>
              </a:r>
            </a:p>
          </p:txBody>
        </p:sp>
        <p:pic>
          <p:nvPicPr>
            <p:cNvPr id="40" name="Graphic 7">
              <a:extLst>
                <a:ext uri="{FF2B5EF4-FFF2-40B4-BE49-F238E27FC236}">
                  <a16:creationId xmlns:a16="http://schemas.microsoft.com/office/drawing/2014/main" id="{E2973E1C-71E6-4F0F-743B-C978F36BAAA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01903" y="3664785"/>
              <a:ext cx="369953" cy="4106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78" name="Graphic 77">
            <a:extLst>
              <a:ext uri="{FF2B5EF4-FFF2-40B4-BE49-F238E27FC236}">
                <a16:creationId xmlns:a16="http://schemas.microsoft.com/office/drawing/2014/main" id="{B1B568D2-2ADC-B1A0-FA93-04E8FAB7240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075389" y="546913"/>
            <a:ext cx="287550" cy="291008"/>
          </a:xfrm>
          <a:prstGeom prst="rect">
            <a:avLst/>
          </a:prstGeom>
        </p:spPr>
      </p:pic>
      <p:sp>
        <p:nvSpPr>
          <p:cNvPr id="80" name="TextBox 79">
            <a:extLst>
              <a:ext uri="{FF2B5EF4-FFF2-40B4-BE49-F238E27FC236}">
                <a16:creationId xmlns:a16="http://schemas.microsoft.com/office/drawing/2014/main" id="{4B7FC726-B148-7335-5803-747A208D8AC8}"/>
              </a:ext>
            </a:extLst>
          </p:cNvPr>
          <p:cNvSpPr txBox="1"/>
          <p:nvPr/>
        </p:nvSpPr>
        <p:spPr>
          <a:xfrm>
            <a:off x="2607967" y="651722"/>
            <a:ext cx="1282879" cy="207749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en-IN" sz="750" b="1">
                <a:solidFill>
                  <a:schemeClr val="accent5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Singapore (ap-southeast-1)</a:t>
            </a:r>
            <a:endParaRPr lang="en-US" sz="750" b="1">
              <a:solidFill>
                <a:schemeClr val="accent5"/>
              </a:solidFill>
              <a:latin typeface="Calibri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234E6D4B-907C-53CD-5F2E-657B34FA1311}"/>
              </a:ext>
            </a:extLst>
          </p:cNvPr>
          <p:cNvSpPr/>
          <p:nvPr/>
        </p:nvSpPr>
        <p:spPr>
          <a:xfrm>
            <a:off x="2658550" y="672553"/>
            <a:ext cx="6333050" cy="4330619"/>
          </a:xfrm>
          <a:prstGeom prst="rect">
            <a:avLst/>
          </a:prstGeom>
          <a:noFill/>
          <a:ln w="28575">
            <a:solidFill>
              <a:schemeClr val="accent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7190" tIns="68580"/>
          <a:lstStyle/>
          <a:p>
            <a:pPr>
              <a:defRPr/>
            </a:pPr>
            <a:r>
              <a:rPr lang="en-US" sz="7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59592E65-2B75-16DA-9CEB-FCB9E5E751DC}"/>
              </a:ext>
            </a:extLst>
          </p:cNvPr>
          <p:cNvSpPr/>
          <p:nvPr/>
        </p:nvSpPr>
        <p:spPr>
          <a:xfrm>
            <a:off x="3128776" y="836758"/>
            <a:ext cx="4987964" cy="4097192"/>
          </a:xfrm>
          <a:prstGeom prst="rect">
            <a:avLst/>
          </a:prstGeom>
          <a:noFill/>
          <a:ln w="19050">
            <a:solidFill>
              <a:schemeClr val="accent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7190" tIns="68580"/>
          <a:lstStyle/>
          <a:p>
            <a:pPr>
              <a:defRPr/>
            </a:pPr>
            <a:r>
              <a:rPr lang="en-US" sz="7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</a:t>
            </a:r>
          </a:p>
        </p:txBody>
      </p:sp>
      <p:grpSp>
        <p:nvGrpSpPr>
          <p:cNvPr id="171" name="Group 170">
            <a:extLst>
              <a:ext uri="{FF2B5EF4-FFF2-40B4-BE49-F238E27FC236}">
                <a16:creationId xmlns:a16="http://schemas.microsoft.com/office/drawing/2014/main" id="{AD0FD489-F681-A11B-436C-C8B3388ED270}"/>
              </a:ext>
            </a:extLst>
          </p:cNvPr>
          <p:cNvGrpSpPr/>
          <p:nvPr/>
        </p:nvGrpSpPr>
        <p:grpSpPr>
          <a:xfrm>
            <a:off x="3119086" y="826888"/>
            <a:ext cx="656510" cy="258961"/>
            <a:chOff x="2651829" y="601576"/>
            <a:chExt cx="875346" cy="345281"/>
          </a:xfrm>
        </p:grpSpPr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A62BBDA6-F685-B2F4-FFF2-80348A835AD8}"/>
                </a:ext>
              </a:extLst>
            </p:cNvPr>
            <p:cNvSpPr txBox="1"/>
            <p:nvPr/>
          </p:nvSpPr>
          <p:spPr>
            <a:xfrm>
              <a:off x="3004254" y="623655"/>
              <a:ext cx="522921" cy="276998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txBody>
            <a:bodyPr wrap="square" rtlCol="0">
              <a:spAutoFit/>
            </a:bodyPr>
            <a:lstStyle/>
            <a:p>
              <a:pPr defTabSz="685800">
                <a:defRPr/>
              </a:pPr>
              <a:r>
                <a:rPr lang="en-IN" sz="750" b="1">
                  <a:solidFill>
                    <a:schemeClr val="accent6">
                      <a:lumMod val="50000"/>
                    </a:schemeClr>
                  </a:solidFill>
                  <a:latin typeface="Calibri" panose="020F0502020204030204" pitchFamily="34" charset="0"/>
                  <a:ea typeface="Calibri" panose="020F0502020204030204" pitchFamily="34" charset="0"/>
                </a:rPr>
                <a:t>VPC</a:t>
              </a:r>
              <a:endParaRPr lang="en-US" sz="750" b="1">
                <a:solidFill>
                  <a:schemeClr val="accent6">
                    <a:lumMod val="50000"/>
                  </a:schemeClr>
                </a:solidFill>
                <a:latin typeface="Calibri"/>
              </a:endParaRPr>
            </a:p>
          </p:txBody>
        </p:sp>
        <p:pic>
          <p:nvPicPr>
            <p:cNvPr id="84" name="Picture 83">
              <a:extLst>
                <a:ext uri="{FF2B5EF4-FFF2-40B4-BE49-F238E27FC236}">
                  <a16:creationId xmlns:a16="http://schemas.microsoft.com/office/drawing/2014/main" id="{6295CB22-8727-195E-A991-C945594918A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3455" t="7114" r="6300" b="4471"/>
            <a:stretch/>
          </p:blipFill>
          <p:spPr>
            <a:xfrm>
              <a:off x="2651829" y="601576"/>
              <a:ext cx="352425" cy="345281"/>
            </a:xfrm>
            <a:prstGeom prst="rect">
              <a:avLst/>
            </a:prstGeom>
          </p:spPr>
        </p:pic>
      </p:grpSp>
      <p:sp>
        <p:nvSpPr>
          <p:cNvPr id="87" name="TextBox 86">
            <a:extLst>
              <a:ext uri="{FF2B5EF4-FFF2-40B4-BE49-F238E27FC236}">
                <a16:creationId xmlns:a16="http://schemas.microsoft.com/office/drawing/2014/main" id="{886D7574-7857-5F65-E824-101D52F1FEF3}"/>
              </a:ext>
            </a:extLst>
          </p:cNvPr>
          <p:cNvSpPr txBox="1"/>
          <p:nvPr/>
        </p:nvSpPr>
        <p:spPr>
          <a:xfrm>
            <a:off x="3374435" y="1086658"/>
            <a:ext cx="364538" cy="207749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en-IN" sz="750" b="1">
                <a:latin typeface="Calibri" panose="020F0502020204030204" pitchFamily="34" charset="0"/>
                <a:ea typeface="Calibri" panose="020F0502020204030204" pitchFamily="34" charset="0"/>
              </a:rPr>
              <a:t>AZ-1</a:t>
            </a:r>
            <a:endParaRPr lang="en-US" sz="750" b="1">
              <a:latin typeface="Calibri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41C6EBAA-1A33-9C1E-EA1B-4F3D9F69FA9F}"/>
              </a:ext>
            </a:extLst>
          </p:cNvPr>
          <p:cNvSpPr/>
          <p:nvPr/>
        </p:nvSpPr>
        <p:spPr>
          <a:xfrm>
            <a:off x="3429827" y="1112767"/>
            <a:ext cx="4261847" cy="3724991"/>
          </a:xfrm>
          <a:prstGeom prst="rect">
            <a:avLst/>
          </a:prstGeom>
          <a:noFill/>
          <a:ln w="1905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7190" tIns="68580"/>
          <a:lstStyle/>
          <a:p>
            <a:pPr>
              <a:defRPr/>
            </a:pPr>
            <a:r>
              <a:rPr lang="en-US" sz="7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AF8E5F62-6C11-9FD2-7046-49658BDD1E04}"/>
              </a:ext>
            </a:extLst>
          </p:cNvPr>
          <p:cNvGrpSpPr/>
          <p:nvPr/>
        </p:nvGrpSpPr>
        <p:grpSpPr>
          <a:xfrm>
            <a:off x="3839890" y="1190533"/>
            <a:ext cx="1753858" cy="1512524"/>
            <a:chOff x="2840950" y="1263804"/>
            <a:chExt cx="3113804" cy="2456962"/>
          </a:xfrm>
        </p:grpSpPr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010B91BC-F08A-D316-9DC6-D04207817A18}"/>
                </a:ext>
              </a:extLst>
            </p:cNvPr>
            <p:cNvSpPr/>
            <p:nvPr/>
          </p:nvSpPr>
          <p:spPr>
            <a:xfrm>
              <a:off x="2840950" y="1280595"/>
              <a:ext cx="3113804" cy="2440171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77190" tIns="68580"/>
            <a:lstStyle/>
            <a:p>
              <a:pPr>
                <a:defRPr/>
              </a:pPr>
              <a:r>
                <a:rPr lang="en-US" sz="75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      </a:t>
              </a:r>
            </a:p>
          </p:txBody>
        </p:sp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B57F7F2D-5652-AF86-AD3A-8E1E30A873EF}"/>
                </a:ext>
              </a:extLst>
            </p:cNvPr>
            <p:cNvGrpSpPr/>
            <p:nvPr/>
          </p:nvGrpSpPr>
          <p:grpSpPr>
            <a:xfrm>
              <a:off x="2855852" y="1263804"/>
              <a:ext cx="1673833" cy="337469"/>
              <a:chOff x="2855852" y="1263804"/>
              <a:chExt cx="1673833" cy="337469"/>
            </a:xfrm>
          </p:grpSpPr>
          <p:pic>
            <p:nvPicPr>
              <p:cNvPr id="90" name="Picture 89">
                <a:extLst>
                  <a:ext uri="{FF2B5EF4-FFF2-40B4-BE49-F238E27FC236}">
                    <a16:creationId xmlns:a16="http://schemas.microsoft.com/office/drawing/2014/main" id="{6FFDBE8D-CB4D-39AC-14A5-09AD949CC2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2855852" y="1288953"/>
                <a:ext cx="312238" cy="274599"/>
              </a:xfrm>
              <a:prstGeom prst="rect">
                <a:avLst/>
              </a:prstGeom>
              <a:ln w="12700">
                <a:solidFill>
                  <a:schemeClr val="accent3"/>
                </a:solidFill>
              </a:ln>
            </p:spPr>
          </p:pic>
          <p:sp>
            <p:nvSpPr>
              <p:cNvPr id="91" name="TextBox 90">
                <a:extLst>
                  <a:ext uri="{FF2B5EF4-FFF2-40B4-BE49-F238E27FC236}">
                    <a16:creationId xmlns:a16="http://schemas.microsoft.com/office/drawing/2014/main" id="{715AE00F-CCD5-CEBA-A64A-545221372825}"/>
                  </a:ext>
                </a:extLst>
              </p:cNvPr>
              <p:cNvSpPr txBox="1"/>
              <p:nvPr/>
            </p:nvSpPr>
            <p:spPr>
              <a:xfrm>
                <a:off x="3075140" y="1263804"/>
                <a:ext cx="1454545" cy="337469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IN" sz="750" b="1"/>
                  <a:t>Private Subnet</a:t>
                </a:r>
              </a:p>
            </p:txBody>
          </p:sp>
        </p:grp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72331695-4F05-AF2A-3585-518CB2761363}"/>
              </a:ext>
            </a:extLst>
          </p:cNvPr>
          <p:cNvGrpSpPr/>
          <p:nvPr/>
        </p:nvGrpSpPr>
        <p:grpSpPr>
          <a:xfrm>
            <a:off x="5718938" y="1206015"/>
            <a:ext cx="1764780" cy="1502188"/>
            <a:chOff x="6161866" y="1269525"/>
            <a:chExt cx="3113804" cy="2428390"/>
          </a:xfrm>
        </p:grpSpPr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278FBEBE-5FBB-5F3B-CDFE-02C337AE207F}"/>
                </a:ext>
              </a:extLst>
            </p:cNvPr>
            <p:cNvSpPr/>
            <p:nvPr/>
          </p:nvSpPr>
          <p:spPr>
            <a:xfrm>
              <a:off x="6161866" y="1280595"/>
              <a:ext cx="3113804" cy="2417320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77190" tIns="68580"/>
            <a:lstStyle/>
            <a:p>
              <a:pPr>
                <a:defRPr/>
              </a:pPr>
              <a:r>
                <a:rPr lang="en-US" sz="75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      </a:t>
              </a:r>
            </a:p>
          </p:txBody>
        </p: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B56D4D7E-4AC5-7F79-4EF8-7FE61B230912}"/>
                </a:ext>
              </a:extLst>
            </p:cNvPr>
            <p:cNvGrpSpPr/>
            <p:nvPr/>
          </p:nvGrpSpPr>
          <p:grpSpPr>
            <a:xfrm>
              <a:off x="6162303" y="1269525"/>
              <a:ext cx="1611912" cy="335840"/>
              <a:chOff x="2832151" y="1263804"/>
              <a:chExt cx="1611912" cy="335840"/>
            </a:xfrm>
          </p:grpSpPr>
          <p:pic>
            <p:nvPicPr>
              <p:cNvPr id="102" name="Picture 101">
                <a:extLst>
                  <a:ext uri="{FF2B5EF4-FFF2-40B4-BE49-F238E27FC236}">
                    <a16:creationId xmlns:a16="http://schemas.microsoft.com/office/drawing/2014/main" id="{22CF3941-A7CC-E693-A594-C3232AB7FA2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2832151" y="1267787"/>
                <a:ext cx="312240" cy="274600"/>
              </a:xfrm>
              <a:prstGeom prst="rect">
                <a:avLst/>
              </a:prstGeom>
              <a:ln w="12700">
                <a:solidFill>
                  <a:schemeClr val="accent3"/>
                </a:solidFill>
              </a:ln>
            </p:spPr>
          </p:pic>
          <p:sp>
            <p:nvSpPr>
              <p:cNvPr id="103" name="TextBox 102">
                <a:extLst>
                  <a:ext uri="{FF2B5EF4-FFF2-40B4-BE49-F238E27FC236}">
                    <a16:creationId xmlns:a16="http://schemas.microsoft.com/office/drawing/2014/main" id="{F69D1492-AD43-2457-1AC7-91DD4FA22D04}"/>
                  </a:ext>
                </a:extLst>
              </p:cNvPr>
              <p:cNvSpPr txBox="1"/>
              <p:nvPr/>
            </p:nvSpPr>
            <p:spPr>
              <a:xfrm>
                <a:off x="3075140" y="1263804"/>
                <a:ext cx="1368923" cy="33584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IN" sz="750" b="1"/>
                  <a:t>Private Subnet</a:t>
                </a:r>
              </a:p>
            </p:txBody>
          </p:sp>
        </p:grpSp>
      </p:grpSp>
      <p:sp>
        <p:nvSpPr>
          <p:cNvPr id="106" name="Rectangle 105">
            <a:extLst>
              <a:ext uri="{FF2B5EF4-FFF2-40B4-BE49-F238E27FC236}">
                <a16:creationId xmlns:a16="http://schemas.microsoft.com/office/drawing/2014/main" id="{B226F789-9CC6-AFA8-F11B-51371A85327A}"/>
              </a:ext>
            </a:extLst>
          </p:cNvPr>
          <p:cNvSpPr/>
          <p:nvPr/>
        </p:nvSpPr>
        <p:spPr>
          <a:xfrm>
            <a:off x="3828967" y="2873694"/>
            <a:ext cx="3644715" cy="1812990"/>
          </a:xfrm>
          <a:prstGeom prst="rect">
            <a:avLst/>
          </a:prstGeom>
          <a:noFill/>
          <a:ln w="1270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7190" tIns="68580"/>
          <a:lstStyle/>
          <a:p>
            <a:pPr>
              <a:defRPr/>
            </a:pPr>
            <a:r>
              <a:rPr lang="en-US" sz="7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</a:t>
            </a:r>
          </a:p>
        </p:txBody>
      </p: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BB193ABF-0178-F367-BBA8-7711D18B525D}"/>
              </a:ext>
            </a:extLst>
          </p:cNvPr>
          <p:cNvGrpSpPr/>
          <p:nvPr/>
        </p:nvGrpSpPr>
        <p:grpSpPr>
          <a:xfrm>
            <a:off x="4138277" y="1402770"/>
            <a:ext cx="1383979" cy="1184602"/>
            <a:chOff x="3102358" y="1413523"/>
            <a:chExt cx="2914900" cy="2070660"/>
          </a:xfrm>
        </p:grpSpPr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47CEB71C-BB9B-D9E0-8440-5D38775426FD}"/>
                </a:ext>
              </a:extLst>
            </p:cNvPr>
            <p:cNvSpPr txBox="1"/>
            <p:nvPr/>
          </p:nvSpPr>
          <p:spPr>
            <a:xfrm>
              <a:off x="4174032" y="1413523"/>
              <a:ext cx="1843226" cy="363141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txBody>
            <a:bodyPr wrap="square" rtlCol="0">
              <a:spAutoFit/>
            </a:bodyPr>
            <a:lstStyle/>
            <a:p>
              <a:pPr defTabSz="685800">
                <a:defRPr/>
              </a:pPr>
              <a:r>
                <a:rPr lang="en-IN" sz="750" b="1">
                  <a:latin typeface="Calibri" panose="020F0502020204030204" pitchFamily="34" charset="0"/>
                  <a:ea typeface="Calibri" panose="020F0502020204030204" pitchFamily="34" charset="0"/>
                </a:rPr>
                <a:t>Security Group 1</a:t>
              </a:r>
              <a:endParaRPr lang="en-US" sz="750" b="1">
                <a:latin typeface="Calibri"/>
              </a:endParaRP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37ED1A84-E53C-C0B9-FEA0-F4D1684E61DF}"/>
                </a:ext>
              </a:extLst>
            </p:cNvPr>
            <p:cNvSpPr/>
            <p:nvPr/>
          </p:nvSpPr>
          <p:spPr>
            <a:xfrm>
              <a:off x="3102358" y="1477646"/>
              <a:ext cx="2699581" cy="2006537"/>
            </a:xfrm>
            <a:prstGeom prst="rect">
              <a:avLst/>
            </a:prstGeom>
            <a:noFill/>
            <a:ln w="12700">
              <a:solidFill>
                <a:srgbClr val="FF000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77190" tIns="68580"/>
            <a:lstStyle/>
            <a:p>
              <a:pPr>
                <a:defRPr/>
              </a:pPr>
              <a:r>
                <a:rPr lang="en-US" sz="75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      </a:t>
              </a: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FAE0B7C6-A3B2-7B1D-1A04-85D71DDD0174}"/>
              </a:ext>
            </a:extLst>
          </p:cNvPr>
          <p:cNvGrpSpPr/>
          <p:nvPr/>
        </p:nvGrpSpPr>
        <p:grpSpPr>
          <a:xfrm>
            <a:off x="4127878" y="3064110"/>
            <a:ext cx="3311686" cy="1545281"/>
            <a:chOff x="3102358" y="1423809"/>
            <a:chExt cx="2802464" cy="2060374"/>
          </a:xfrm>
        </p:grpSpPr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8A0A460F-66B5-222B-6AEE-B81D772346C4}"/>
                </a:ext>
              </a:extLst>
            </p:cNvPr>
            <p:cNvSpPr txBox="1"/>
            <p:nvPr/>
          </p:nvSpPr>
          <p:spPr>
            <a:xfrm>
              <a:off x="5142368" y="1423809"/>
              <a:ext cx="762454" cy="276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txBody>
            <a:bodyPr wrap="square" rtlCol="0">
              <a:spAutoFit/>
            </a:bodyPr>
            <a:lstStyle/>
            <a:p>
              <a:pPr defTabSz="685800">
                <a:defRPr/>
              </a:pPr>
              <a:r>
                <a:rPr lang="en-IN" sz="750" b="1">
                  <a:latin typeface="Calibri" panose="020F0502020204030204" pitchFamily="34" charset="0"/>
                  <a:ea typeface="Calibri" panose="020F0502020204030204" pitchFamily="34" charset="0"/>
                </a:rPr>
                <a:t>Security Group 3</a:t>
              </a:r>
              <a:endParaRPr lang="en-US" sz="750" b="1">
                <a:latin typeface="Calibri"/>
              </a:endParaRPr>
            </a:p>
          </p:txBody>
        </p:sp>
        <p:sp>
          <p:nvSpPr>
            <p:cNvPr id="131" name="Rectangle 130">
              <a:extLst>
                <a:ext uri="{FF2B5EF4-FFF2-40B4-BE49-F238E27FC236}">
                  <a16:creationId xmlns:a16="http://schemas.microsoft.com/office/drawing/2014/main" id="{44CED035-8D6F-C216-EC68-06BB6B7CD208}"/>
                </a:ext>
              </a:extLst>
            </p:cNvPr>
            <p:cNvSpPr/>
            <p:nvPr/>
          </p:nvSpPr>
          <p:spPr>
            <a:xfrm>
              <a:off x="3102358" y="1477646"/>
              <a:ext cx="2699581" cy="2006537"/>
            </a:xfrm>
            <a:prstGeom prst="rect">
              <a:avLst/>
            </a:prstGeom>
            <a:noFill/>
            <a:ln w="9525">
              <a:solidFill>
                <a:srgbClr val="FF000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77190" tIns="68580"/>
            <a:lstStyle/>
            <a:p>
              <a:pPr>
                <a:defRPr/>
              </a:pPr>
              <a:r>
                <a:rPr lang="en-US" sz="75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      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BDBD68B-7755-9179-EFC4-03EDBED3496D}"/>
              </a:ext>
            </a:extLst>
          </p:cNvPr>
          <p:cNvGrpSpPr/>
          <p:nvPr/>
        </p:nvGrpSpPr>
        <p:grpSpPr>
          <a:xfrm>
            <a:off x="4282863" y="1719562"/>
            <a:ext cx="1017002" cy="656937"/>
            <a:chOff x="3198938" y="1707076"/>
            <a:chExt cx="1356002" cy="875916"/>
          </a:xfrm>
          <a:noFill/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094BA719-DB06-0584-C28E-9F589D7E56A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3548281" y="1707076"/>
              <a:ext cx="657317" cy="647790"/>
            </a:xfrm>
            <a:prstGeom prst="rect">
              <a:avLst/>
            </a:prstGeom>
            <a:grpFill/>
            <a:ln>
              <a:noFill/>
            </a:ln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9AFCDC00-4F12-AC8C-14B0-E1402D0995B8}"/>
                </a:ext>
              </a:extLst>
            </p:cNvPr>
            <p:cNvSpPr txBox="1"/>
            <p:nvPr/>
          </p:nvSpPr>
          <p:spPr>
            <a:xfrm>
              <a:off x="3198938" y="2321381"/>
              <a:ext cx="1356002" cy="261611"/>
            </a:xfrm>
            <a:prstGeom prst="rect">
              <a:avLst/>
            </a:prstGeom>
            <a:grpFill/>
            <a:ln w="12700">
              <a:noFill/>
            </a:ln>
          </p:spPr>
          <p:txBody>
            <a:bodyPr wrap="square" rtlCol="0">
              <a:spAutoFit/>
            </a:bodyPr>
            <a:lstStyle/>
            <a:p>
              <a:pPr defTabSz="685800">
                <a:defRPr/>
              </a:pPr>
              <a:r>
                <a:rPr lang="en-IN" sz="675">
                  <a:latin typeface="Calibri" panose="020F0502020204030204" pitchFamily="34" charset="0"/>
                  <a:ea typeface="Calibri" panose="020F0502020204030204" pitchFamily="34" charset="0"/>
                </a:rPr>
                <a:t>Web Application Server</a:t>
              </a:r>
              <a:endParaRPr lang="en-US" sz="675">
                <a:latin typeface="Calibri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A0B1F74-AF06-E8E2-FF1E-79FC7E47FDEC}"/>
              </a:ext>
            </a:extLst>
          </p:cNvPr>
          <p:cNvGrpSpPr/>
          <p:nvPr/>
        </p:nvGrpSpPr>
        <p:grpSpPr>
          <a:xfrm>
            <a:off x="6217924" y="1712837"/>
            <a:ext cx="939173" cy="707710"/>
            <a:chOff x="6959047" y="1933820"/>
            <a:chExt cx="1252231" cy="943612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227124D9-6EAC-8534-D725-E0E26C894AB2}"/>
                </a:ext>
              </a:extLst>
            </p:cNvPr>
            <p:cNvSpPr txBox="1"/>
            <p:nvPr/>
          </p:nvSpPr>
          <p:spPr>
            <a:xfrm>
              <a:off x="7037810" y="2615822"/>
              <a:ext cx="1068735" cy="261610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rtlCol="0">
              <a:spAutoFit/>
            </a:bodyPr>
            <a:lstStyle/>
            <a:p>
              <a:pPr algn="ctr" defTabSz="685800">
                <a:defRPr/>
              </a:pPr>
              <a:r>
                <a:rPr lang="en-AU" sz="675">
                  <a:latin typeface="Calibri"/>
                </a:rPr>
                <a:t>PostgreSQL – RDS </a:t>
              </a: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793CEF60-2DFF-2A61-5801-990E92D1F89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959047" y="1933820"/>
              <a:ext cx="1252231" cy="740022"/>
            </a:xfrm>
            <a:prstGeom prst="rect">
              <a:avLst/>
            </a:prstGeom>
          </p:spPr>
        </p:pic>
      </p:grpSp>
      <p:pic>
        <p:nvPicPr>
          <p:cNvPr id="21" name="Picture 20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C5FFAA86-5F36-E2DE-FAC4-85C819E4DBF2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788" t="22617" r="8958" b="20391"/>
          <a:stretch/>
        </p:blipFill>
        <p:spPr>
          <a:xfrm>
            <a:off x="8566292" y="1845985"/>
            <a:ext cx="345547" cy="313147"/>
          </a:xfrm>
          <a:prstGeom prst="rect">
            <a:avLst/>
          </a:prstGeom>
        </p:spPr>
      </p:pic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67C4D4F3-89A7-8A83-E8C4-5978749DF509}"/>
              </a:ext>
            </a:extLst>
          </p:cNvPr>
          <p:cNvCxnSpPr>
            <a:cxnSpLocks/>
            <a:stCxn id="65" idx="0"/>
            <a:endCxn id="71" idx="2"/>
          </p:cNvCxnSpPr>
          <p:nvPr/>
        </p:nvCxnSpPr>
        <p:spPr>
          <a:xfrm flipH="1" flipV="1">
            <a:off x="2381085" y="2454030"/>
            <a:ext cx="7332" cy="29213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9C41F592-C400-4B60-4F2C-7FCED680097D}"/>
              </a:ext>
            </a:extLst>
          </p:cNvPr>
          <p:cNvCxnSpPr>
            <a:cxnSpLocks/>
            <a:stCxn id="40" idx="3"/>
            <a:endCxn id="95" idx="1"/>
          </p:cNvCxnSpPr>
          <p:nvPr/>
        </p:nvCxnSpPr>
        <p:spPr>
          <a:xfrm flipV="1">
            <a:off x="2506499" y="2013413"/>
            <a:ext cx="1631778" cy="480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78093213-20DB-1DEF-87F7-CD473DCEE3AB}"/>
              </a:ext>
            </a:extLst>
          </p:cNvPr>
          <p:cNvCxnSpPr>
            <a:cxnSpLocks/>
            <a:stCxn id="59" idx="3"/>
            <a:endCxn id="65" idx="1"/>
          </p:cNvCxnSpPr>
          <p:nvPr/>
        </p:nvCxnSpPr>
        <p:spPr>
          <a:xfrm>
            <a:off x="1992245" y="2896524"/>
            <a:ext cx="256146" cy="30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9C741671-46B6-60CD-E5E6-6CFAFAD91BE0}"/>
              </a:ext>
            </a:extLst>
          </p:cNvPr>
          <p:cNvCxnSpPr>
            <a:cxnSpLocks/>
            <a:stCxn id="177" idx="3"/>
            <a:endCxn id="59" idx="1"/>
          </p:cNvCxnSpPr>
          <p:nvPr/>
        </p:nvCxnSpPr>
        <p:spPr>
          <a:xfrm>
            <a:off x="1159254" y="2883217"/>
            <a:ext cx="556887" cy="1330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A047A38E-8095-49E1-C6C4-B19C47E1DFCE}"/>
              </a:ext>
            </a:extLst>
          </p:cNvPr>
          <p:cNvCxnSpPr>
            <a:cxnSpLocks/>
            <a:stCxn id="21" idx="1"/>
            <a:endCxn id="125" idx="3"/>
          </p:cNvCxnSpPr>
          <p:nvPr/>
        </p:nvCxnSpPr>
        <p:spPr>
          <a:xfrm flipH="1">
            <a:off x="7328383" y="2002559"/>
            <a:ext cx="1237909" cy="84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nector: Elbow 47">
            <a:extLst>
              <a:ext uri="{FF2B5EF4-FFF2-40B4-BE49-F238E27FC236}">
                <a16:creationId xmlns:a16="http://schemas.microsoft.com/office/drawing/2014/main" id="{652351F1-676C-474C-B260-36EC42FF2E03}"/>
              </a:ext>
            </a:extLst>
          </p:cNvPr>
          <p:cNvCxnSpPr>
            <a:cxnSpLocks/>
            <a:stCxn id="95" idx="3"/>
            <a:endCxn id="21" idx="0"/>
          </p:cNvCxnSpPr>
          <p:nvPr/>
        </p:nvCxnSpPr>
        <p:spPr>
          <a:xfrm flipV="1">
            <a:off x="5420024" y="1845985"/>
            <a:ext cx="3319042" cy="167428"/>
          </a:xfrm>
          <a:prstGeom prst="bentConnector4">
            <a:avLst>
              <a:gd name="adj1" fmla="val 6859"/>
              <a:gd name="adj2" fmla="val 619783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8944B3AD-F2BF-D41F-8379-6FFCF4DAF9C8}"/>
              </a:ext>
            </a:extLst>
          </p:cNvPr>
          <p:cNvGrpSpPr/>
          <p:nvPr/>
        </p:nvGrpSpPr>
        <p:grpSpPr>
          <a:xfrm>
            <a:off x="7632919" y="1906620"/>
            <a:ext cx="596957" cy="399187"/>
            <a:chOff x="9366641" y="4241191"/>
            <a:chExt cx="795942" cy="532250"/>
          </a:xfrm>
        </p:grpSpPr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AA7FC1C6-C738-66A5-5486-99D9064DDEFC}"/>
                </a:ext>
              </a:extLst>
            </p:cNvPr>
            <p:cNvSpPr txBox="1"/>
            <p:nvPr/>
          </p:nvSpPr>
          <p:spPr>
            <a:xfrm>
              <a:off x="9366641" y="4511830"/>
              <a:ext cx="795942" cy="261611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rtlCol="0">
              <a:spAutoFit/>
            </a:bodyPr>
            <a:lstStyle/>
            <a:p>
              <a:pPr algn="ctr" defTabSz="685800">
                <a:defRPr/>
              </a:pPr>
              <a:r>
                <a:rPr lang="en-US" sz="675">
                  <a:latin typeface="Calibri"/>
                </a:rPr>
                <a:t>Lambda</a:t>
              </a:r>
            </a:p>
          </p:txBody>
        </p:sp>
        <p:pic>
          <p:nvPicPr>
            <p:cNvPr id="99" name="Picture 98">
              <a:extLst>
                <a:ext uri="{FF2B5EF4-FFF2-40B4-BE49-F238E27FC236}">
                  <a16:creationId xmlns:a16="http://schemas.microsoft.com/office/drawing/2014/main" id="{14A34540-4855-8F91-8133-0EFFC1ECA67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9633283" y="4241191"/>
              <a:ext cx="262659" cy="264020"/>
            </a:xfrm>
            <a:prstGeom prst="rect">
              <a:avLst/>
            </a:prstGeom>
          </p:spPr>
        </p:pic>
      </p:grpSp>
      <p:cxnSp>
        <p:nvCxnSpPr>
          <p:cNvPr id="115" name="Connector: Elbow 114">
            <a:extLst>
              <a:ext uri="{FF2B5EF4-FFF2-40B4-BE49-F238E27FC236}">
                <a16:creationId xmlns:a16="http://schemas.microsoft.com/office/drawing/2014/main" id="{C620AFA0-051B-9BAD-3AD7-DF1C56A7EB56}"/>
              </a:ext>
            </a:extLst>
          </p:cNvPr>
          <p:cNvCxnSpPr>
            <a:cxnSpLocks/>
            <a:stCxn id="132" idx="1"/>
            <a:endCxn id="150" idx="3"/>
          </p:cNvCxnSpPr>
          <p:nvPr/>
        </p:nvCxnSpPr>
        <p:spPr>
          <a:xfrm rot="10800000" flipV="1">
            <a:off x="6904140" y="2403183"/>
            <a:ext cx="1453218" cy="1529986"/>
          </a:xfrm>
          <a:prstGeom prst="bentConnector3">
            <a:avLst>
              <a:gd name="adj1" fmla="val 32522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extBox 139">
            <a:extLst>
              <a:ext uri="{FF2B5EF4-FFF2-40B4-BE49-F238E27FC236}">
                <a16:creationId xmlns:a16="http://schemas.microsoft.com/office/drawing/2014/main" id="{08A7F827-9FC4-349B-E400-01D35CE01CB1}"/>
              </a:ext>
            </a:extLst>
          </p:cNvPr>
          <p:cNvSpPr txBox="1"/>
          <p:nvPr/>
        </p:nvSpPr>
        <p:spPr>
          <a:xfrm>
            <a:off x="4455583" y="3346370"/>
            <a:ext cx="627059" cy="196208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en-IN" sz="675">
                <a:latin typeface="Calibri" panose="020F0502020204030204" pitchFamily="34" charset="0"/>
                <a:ea typeface="Calibri" panose="020F0502020204030204" pitchFamily="34" charset="0"/>
              </a:rPr>
              <a:t>EMR Scope</a:t>
            </a:r>
            <a:endParaRPr lang="en-US" sz="675">
              <a:latin typeface="Calibri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BC834607-F79E-E3DA-410D-D0A737BD09D4}"/>
              </a:ext>
            </a:extLst>
          </p:cNvPr>
          <p:cNvSpPr/>
          <p:nvPr/>
        </p:nvSpPr>
        <p:spPr>
          <a:xfrm>
            <a:off x="4478296" y="3351381"/>
            <a:ext cx="2626661" cy="1093450"/>
          </a:xfrm>
          <a:prstGeom prst="rect">
            <a:avLst/>
          </a:prstGeom>
          <a:noFill/>
          <a:ln w="952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7190" tIns="68580"/>
          <a:lstStyle/>
          <a:p>
            <a:pPr>
              <a:defRPr/>
            </a:pPr>
            <a:r>
              <a:rPr lang="en-US" sz="7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</a:t>
            </a:r>
          </a:p>
        </p:txBody>
      </p: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868B3A6C-E65E-498D-7CC7-BAB7C82BFD2F}"/>
              </a:ext>
            </a:extLst>
          </p:cNvPr>
          <p:cNvGrpSpPr/>
          <p:nvPr/>
        </p:nvGrpSpPr>
        <p:grpSpPr>
          <a:xfrm>
            <a:off x="5646791" y="3717523"/>
            <a:ext cx="1257349" cy="439923"/>
            <a:chOff x="6849264" y="4782104"/>
            <a:chExt cx="1676465" cy="586564"/>
          </a:xfrm>
        </p:grpSpPr>
        <p:sp>
          <p:nvSpPr>
            <p:cNvPr id="149" name="Flowchart: Process 148">
              <a:extLst>
                <a:ext uri="{FF2B5EF4-FFF2-40B4-BE49-F238E27FC236}">
                  <a16:creationId xmlns:a16="http://schemas.microsoft.com/office/drawing/2014/main" id="{12CC0946-8095-345D-53D1-89E73D8609F5}"/>
                </a:ext>
              </a:extLst>
            </p:cNvPr>
            <p:cNvSpPr/>
            <p:nvPr/>
          </p:nvSpPr>
          <p:spPr>
            <a:xfrm>
              <a:off x="6849264" y="4782104"/>
              <a:ext cx="1676465" cy="586564"/>
            </a:xfrm>
            <a:prstGeom prst="flowChartProcess">
              <a:avLst/>
            </a:prstGeom>
            <a:noFill/>
            <a:ln w="12700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0"/>
            </a:p>
          </p:txBody>
        </p:sp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F1DC8D6B-9B5A-793B-3A1C-CB9690DC550D}"/>
                </a:ext>
              </a:extLst>
            </p:cNvPr>
            <p:cNvSpPr txBox="1"/>
            <p:nvPr/>
          </p:nvSpPr>
          <p:spPr>
            <a:xfrm>
              <a:off x="6849264" y="4869577"/>
              <a:ext cx="1676465" cy="400109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IN" sz="675"/>
                <a:t>ML Modules – Scheduled and On-Demand</a:t>
              </a:r>
            </a:p>
          </p:txBody>
        </p:sp>
      </p:grpSp>
      <p:grpSp>
        <p:nvGrpSpPr>
          <p:cNvPr id="164" name="Group 163">
            <a:extLst>
              <a:ext uri="{FF2B5EF4-FFF2-40B4-BE49-F238E27FC236}">
                <a16:creationId xmlns:a16="http://schemas.microsoft.com/office/drawing/2014/main" id="{6716BEBD-C01C-8850-6224-00BF87A8D03C}"/>
              </a:ext>
            </a:extLst>
          </p:cNvPr>
          <p:cNvGrpSpPr/>
          <p:nvPr/>
        </p:nvGrpSpPr>
        <p:grpSpPr>
          <a:xfrm>
            <a:off x="3825935" y="2868545"/>
            <a:ext cx="960951" cy="207749"/>
            <a:chOff x="6174305" y="3827059"/>
            <a:chExt cx="1281268" cy="276999"/>
          </a:xfrm>
        </p:grpSpPr>
        <p:pic>
          <p:nvPicPr>
            <p:cNvPr id="162" name="Picture 161">
              <a:extLst>
                <a:ext uri="{FF2B5EF4-FFF2-40B4-BE49-F238E27FC236}">
                  <a16:creationId xmlns:a16="http://schemas.microsoft.com/office/drawing/2014/main" id="{3E86B724-E9A0-B9E5-8C35-869B5BF1477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174305" y="3832673"/>
              <a:ext cx="234493" cy="225394"/>
            </a:xfrm>
            <a:prstGeom prst="rect">
              <a:avLst/>
            </a:prstGeom>
          </p:spPr>
        </p:pic>
        <p:sp>
          <p:nvSpPr>
            <p:cNvPr id="163" name="TextBox 162">
              <a:extLst>
                <a:ext uri="{FF2B5EF4-FFF2-40B4-BE49-F238E27FC236}">
                  <a16:creationId xmlns:a16="http://schemas.microsoft.com/office/drawing/2014/main" id="{6DBB4C4E-0AE6-0BEC-7BF6-757F167E8959}"/>
                </a:ext>
              </a:extLst>
            </p:cNvPr>
            <p:cNvSpPr txBox="1"/>
            <p:nvPr/>
          </p:nvSpPr>
          <p:spPr>
            <a:xfrm>
              <a:off x="6363204" y="3827059"/>
              <a:ext cx="109236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750" b="1"/>
                <a:t>Private Subnet</a:t>
              </a:r>
            </a:p>
          </p:txBody>
        </p:sp>
      </p:grpSp>
      <p:sp>
        <p:nvSpPr>
          <p:cNvPr id="121" name="Rectangle 120">
            <a:extLst>
              <a:ext uri="{FF2B5EF4-FFF2-40B4-BE49-F238E27FC236}">
                <a16:creationId xmlns:a16="http://schemas.microsoft.com/office/drawing/2014/main" id="{59E94B81-5CAB-4C57-8647-2494EA1CBC01}"/>
              </a:ext>
            </a:extLst>
          </p:cNvPr>
          <p:cNvSpPr/>
          <p:nvPr/>
        </p:nvSpPr>
        <p:spPr>
          <a:xfrm>
            <a:off x="2075389" y="546913"/>
            <a:ext cx="7013689" cy="4541049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7190" tIns="68580"/>
          <a:lstStyle/>
          <a:p>
            <a:pPr>
              <a:defRPr/>
            </a:pPr>
            <a:r>
              <a:rPr lang="en-US" sz="7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</a:t>
            </a:r>
          </a:p>
        </p:txBody>
      </p: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822E2DC1-5527-9FDD-5FE8-B14961243054}"/>
              </a:ext>
            </a:extLst>
          </p:cNvPr>
          <p:cNvGrpSpPr/>
          <p:nvPr/>
        </p:nvGrpSpPr>
        <p:grpSpPr>
          <a:xfrm>
            <a:off x="684888" y="2699748"/>
            <a:ext cx="583789" cy="564718"/>
            <a:chOff x="1295633" y="3163587"/>
            <a:chExt cx="778385" cy="752959"/>
          </a:xfrm>
        </p:grpSpPr>
        <p:pic>
          <p:nvPicPr>
            <p:cNvPr id="177" name="Picture 176">
              <a:extLst>
                <a:ext uri="{FF2B5EF4-FFF2-40B4-BE49-F238E27FC236}">
                  <a16:creationId xmlns:a16="http://schemas.microsoft.com/office/drawing/2014/main" id="{1FEC01ED-EC87-B1EB-AC79-F4012A84BF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/>
            <a:srcRect b="33504"/>
            <a:stretch/>
          </p:blipFill>
          <p:spPr>
            <a:xfrm>
              <a:off x="1441528" y="3163587"/>
              <a:ext cx="486593" cy="489251"/>
            </a:xfrm>
            <a:prstGeom prst="rect">
              <a:avLst/>
            </a:prstGeom>
          </p:spPr>
        </p:pic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D827F469-02B2-911A-3568-66F2DE0AAC34}"/>
                </a:ext>
              </a:extLst>
            </p:cNvPr>
            <p:cNvSpPr txBox="1"/>
            <p:nvPr/>
          </p:nvSpPr>
          <p:spPr>
            <a:xfrm>
              <a:off x="1295633" y="3547213"/>
              <a:ext cx="778385" cy="369333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rtlCol="0">
              <a:spAutoFit/>
            </a:bodyPr>
            <a:lstStyle/>
            <a:p>
              <a:pPr algn="ctr" defTabSz="685800">
                <a:defRPr/>
              </a:pPr>
              <a:r>
                <a:rPr lang="en-US" sz="600">
                  <a:latin typeface="Calibri"/>
                </a:rPr>
                <a:t>Customer Gateway</a:t>
              </a:r>
            </a:p>
          </p:txBody>
        </p:sp>
      </p:grpSp>
      <p:sp>
        <p:nvSpPr>
          <p:cNvPr id="180" name="Rectangle 179">
            <a:extLst>
              <a:ext uri="{FF2B5EF4-FFF2-40B4-BE49-F238E27FC236}">
                <a16:creationId xmlns:a16="http://schemas.microsoft.com/office/drawing/2014/main" id="{FA074717-9297-A8A6-AC8E-8F90F0B01D88}"/>
              </a:ext>
            </a:extLst>
          </p:cNvPr>
          <p:cNvSpPr/>
          <p:nvPr/>
        </p:nvSpPr>
        <p:spPr>
          <a:xfrm>
            <a:off x="118908" y="547850"/>
            <a:ext cx="1436323" cy="1809364"/>
          </a:xfrm>
          <a:prstGeom prst="rect">
            <a:avLst/>
          </a:prstGeom>
          <a:noFill/>
          <a:ln w="28575">
            <a:solidFill>
              <a:schemeClr val="accent6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7190" tIns="68580"/>
          <a:lstStyle/>
          <a:p>
            <a:pPr>
              <a:defRPr/>
            </a:pPr>
            <a:r>
              <a:rPr lang="en-US" sz="7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</a:t>
            </a: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42B1407E-0E2A-5DE0-D8FA-F45DA7240138}"/>
              </a:ext>
            </a:extLst>
          </p:cNvPr>
          <p:cNvSpPr txBox="1"/>
          <p:nvPr/>
        </p:nvSpPr>
        <p:spPr>
          <a:xfrm>
            <a:off x="118419" y="547848"/>
            <a:ext cx="1336932" cy="207749"/>
          </a:xfrm>
          <a:prstGeom prst="rect">
            <a:avLst/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en-IN" sz="750" b="1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VPN (TBD)</a:t>
            </a:r>
            <a:endParaRPr lang="en-US" sz="750" b="1">
              <a:solidFill>
                <a:schemeClr val="accent6">
                  <a:lumMod val="50000"/>
                </a:schemeClr>
              </a:solidFill>
              <a:latin typeface="Calibri"/>
            </a:endParaRPr>
          </a:p>
        </p:txBody>
      </p:sp>
      <p:sp>
        <p:nvSpPr>
          <p:cNvPr id="191" name="Flowchart: Magnetic Disk 190">
            <a:extLst>
              <a:ext uri="{FF2B5EF4-FFF2-40B4-BE49-F238E27FC236}">
                <a16:creationId xmlns:a16="http://schemas.microsoft.com/office/drawing/2014/main" id="{73EFF014-5473-4B62-7DB8-0A2B29EDB698}"/>
              </a:ext>
            </a:extLst>
          </p:cNvPr>
          <p:cNvSpPr/>
          <p:nvPr/>
        </p:nvSpPr>
        <p:spPr>
          <a:xfrm>
            <a:off x="506275" y="3913671"/>
            <a:ext cx="481367" cy="374318"/>
          </a:xfrm>
          <a:prstGeom prst="flowChartMagneticDisk">
            <a:avLst/>
          </a:prstGeom>
          <a:solidFill>
            <a:srgbClr val="FEBE10"/>
          </a:solidFill>
          <a:ln>
            <a:solidFill>
              <a:srgbClr val="FEBE1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>
                <a:solidFill>
                  <a:schemeClr val="tx1"/>
                </a:solidFill>
              </a:rPr>
              <a:t>ADR</a:t>
            </a:r>
          </a:p>
        </p:txBody>
      </p: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99632E1C-F007-CE40-CFA7-5A78573361ED}"/>
              </a:ext>
            </a:extLst>
          </p:cNvPr>
          <p:cNvGrpSpPr/>
          <p:nvPr/>
        </p:nvGrpSpPr>
        <p:grpSpPr>
          <a:xfrm>
            <a:off x="7649089" y="882870"/>
            <a:ext cx="596957" cy="399187"/>
            <a:chOff x="9366641" y="4241191"/>
            <a:chExt cx="795942" cy="532250"/>
          </a:xfrm>
        </p:grpSpPr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2619E581-BF56-0EC2-3E1D-F0781F03BAAC}"/>
                </a:ext>
              </a:extLst>
            </p:cNvPr>
            <p:cNvSpPr txBox="1"/>
            <p:nvPr/>
          </p:nvSpPr>
          <p:spPr>
            <a:xfrm>
              <a:off x="9366641" y="4511830"/>
              <a:ext cx="795942" cy="261611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rtlCol="0">
              <a:spAutoFit/>
            </a:bodyPr>
            <a:lstStyle/>
            <a:p>
              <a:pPr algn="ctr" defTabSz="685800">
                <a:defRPr/>
              </a:pPr>
              <a:r>
                <a:rPr lang="en-US" sz="675">
                  <a:latin typeface="Calibri"/>
                </a:rPr>
                <a:t>Lambda</a:t>
              </a:r>
            </a:p>
          </p:txBody>
        </p:sp>
        <p:pic>
          <p:nvPicPr>
            <p:cNvPr id="205" name="Picture 204">
              <a:extLst>
                <a:ext uri="{FF2B5EF4-FFF2-40B4-BE49-F238E27FC236}">
                  <a16:creationId xmlns:a16="http://schemas.microsoft.com/office/drawing/2014/main" id="{72BF156F-93FD-D99E-CDFF-FC5E579BBA6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9633283" y="4241191"/>
              <a:ext cx="262659" cy="264020"/>
            </a:xfrm>
            <a:prstGeom prst="rect">
              <a:avLst/>
            </a:prstGeom>
          </p:spPr>
        </p:pic>
      </p:grpSp>
      <p:sp>
        <p:nvSpPr>
          <p:cNvPr id="231" name="Title 2">
            <a:extLst>
              <a:ext uri="{FF2B5EF4-FFF2-40B4-BE49-F238E27FC236}">
                <a16:creationId xmlns:a16="http://schemas.microsoft.com/office/drawing/2014/main" id="{2190C235-E4E7-A629-AED9-60298F370C87}"/>
              </a:ext>
            </a:extLst>
          </p:cNvPr>
          <p:cNvSpPr txBox="1">
            <a:spLocks/>
          </p:cNvSpPr>
          <p:nvPr/>
        </p:nvSpPr>
        <p:spPr>
          <a:xfrm>
            <a:off x="340452" y="19621"/>
            <a:ext cx="8527776" cy="43576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3300"/>
              <a:t>High Level Physical Architecture Diagram</a:t>
            </a:r>
            <a:endParaRPr lang="en-US" sz="3300"/>
          </a:p>
        </p:txBody>
      </p:sp>
      <p:cxnSp>
        <p:nvCxnSpPr>
          <p:cNvPr id="2" name="Connector: Elbow 1">
            <a:extLst>
              <a:ext uri="{FF2B5EF4-FFF2-40B4-BE49-F238E27FC236}">
                <a16:creationId xmlns:a16="http://schemas.microsoft.com/office/drawing/2014/main" id="{A94D5EAE-817A-FFA5-A974-177733C2547B}"/>
              </a:ext>
            </a:extLst>
          </p:cNvPr>
          <p:cNvCxnSpPr>
            <a:cxnSpLocks/>
            <a:stCxn id="40" idx="3"/>
            <a:endCxn id="139" idx="1"/>
          </p:cNvCxnSpPr>
          <p:nvPr/>
        </p:nvCxnSpPr>
        <p:spPr>
          <a:xfrm>
            <a:off x="2506499" y="2018220"/>
            <a:ext cx="1971797" cy="187988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2EA360BB-DCC6-AF67-F10B-BDF0D0934EA1}"/>
              </a:ext>
            </a:extLst>
          </p:cNvPr>
          <p:cNvSpPr/>
          <p:nvPr/>
        </p:nvSpPr>
        <p:spPr>
          <a:xfrm>
            <a:off x="118420" y="2376499"/>
            <a:ext cx="1436811" cy="1238381"/>
          </a:xfrm>
          <a:prstGeom prst="rect">
            <a:avLst/>
          </a:prstGeom>
          <a:noFill/>
          <a:ln w="28575">
            <a:solidFill>
              <a:schemeClr val="accent6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7190" tIns="68580"/>
          <a:lstStyle/>
          <a:p>
            <a:pPr>
              <a:defRPr/>
            </a:pPr>
            <a:r>
              <a:rPr lang="en-US" sz="7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F718246-C90B-A850-95B2-F867FE914AD4}"/>
              </a:ext>
            </a:extLst>
          </p:cNvPr>
          <p:cNvSpPr/>
          <p:nvPr/>
        </p:nvSpPr>
        <p:spPr>
          <a:xfrm>
            <a:off x="118420" y="3637578"/>
            <a:ext cx="1438677" cy="1238381"/>
          </a:xfrm>
          <a:prstGeom prst="rect">
            <a:avLst/>
          </a:prstGeom>
          <a:noFill/>
          <a:ln w="28575">
            <a:solidFill>
              <a:schemeClr val="accent6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7190" tIns="68580"/>
          <a:lstStyle/>
          <a:p>
            <a:pPr>
              <a:defRPr/>
            </a:pPr>
            <a:r>
              <a:rPr lang="en-US" sz="7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AACAA75-23B1-06D6-2845-03AAAD034C5F}"/>
              </a:ext>
            </a:extLst>
          </p:cNvPr>
          <p:cNvSpPr/>
          <p:nvPr/>
        </p:nvSpPr>
        <p:spPr>
          <a:xfrm>
            <a:off x="1341184" y="2374159"/>
            <a:ext cx="215913" cy="1236771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28575">
            <a:solidFill>
              <a:schemeClr val="accent6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100"/>
              <a:t>T</a:t>
            </a:r>
          </a:p>
          <a:p>
            <a:pPr algn="ctr"/>
            <a:r>
              <a:rPr lang="en-IN" sz="1100"/>
              <a:t>R</a:t>
            </a:r>
          </a:p>
          <a:p>
            <a:pPr algn="ctr"/>
            <a:r>
              <a:rPr lang="en-IN" sz="1100"/>
              <a:t>U</a:t>
            </a:r>
          </a:p>
          <a:p>
            <a:pPr algn="ctr"/>
            <a:r>
              <a:rPr lang="en-IN" sz="1100"/>
              <a:t>S</a:t>
            </a:r>
          </a:p>
          <a:p>
            <a:pPr algn="ctr"/>
            <a:r>
              <a:rPr lang="en-IN" sz="1100"/>
              <a:t>T</a:t>
            </a:r>
          </a:p>
          <a:p>
            <a:pPr algn="ctr"/>
            <a:r>
              <a:rPr lang="en-IN" sz="1100"/>
              <a:t>E</a:t>
            </a:r>
          </a:p>
          <a:p>
            <a:pPr algn="ctr"/>
            <a:r>
              <a:rPr lang="en-IN" sz="1100"/>
              <a:t>D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8613042-4390-6824-CDC1-F4D7E3BB68DA}"/>
              </a:ext>
            </a:extLst>
          </p:cNvPr>
          <p:cNvSpPr txBox="1"/>
          <p:nvPr/>
        </p:nvSpPr>
        <p:spPr>
          <a:xfrm>
            <a:off x="115823" y="4277075"/>
            <a:ext cx="1279797" cy="646331"/>
          </a:xfrm>
          <a:prstGeom prst="rect">
            <a:avLst/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en-IN" sz="600" i="1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</a:rPr>
              <a:t>Sample details</a:t>
            </a:r>
          </a:p>
          <a:p>
            <a:pPr algn="ctr" defTabSz="685800">
              <a:defRPr/>
            </a:pPr>
            <a:r>
              <a:rPr lang="en-IN" sz="600" i="1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</a:rPr>
              <a:t>Oracle Database 12c</a:t>
            </a:r>
          </a:p>
          <a:p>
            <a:pPr algn="ctr" defTabSz="685800">
              <a:defRPr/>
            </a:pPr>
            <a:r>
              <a:rPr lang="en-IN" sz="600" i="1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</a:rPr>
              <a:t>(sv8115.ph.sunlife)</a:t>
            </a:r>
          </a:p>
          <a:p>
            <a:pPr algn="ctr" defTabSz="685800">
              <a:defRPr/>
            </a:pPr>
            <a:r>
              <a:rPr lang="en-IN" sz="600" i="1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</a:rPr>
              <a:t>DIZ(16?)</a:t>
            </a:r>
          </a:p>
          <a:p>
            <a:pPr algn="ctr" defTabSz="685800">
              <a:defRPr/>
            </a:pPr>
            <a:r>
              <a:rPr lang="en-IN" sz="600" i="1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</a:rPr>
              <a:t>Digital Signature DB</a:t>
            </a:r>
          </a:p>
          <a:p>
            <a:pPr algn="ctr" defTabSz="685800">
              <a:defRPr/>
            </a:pPr>
            <a:r>
              <a:rPr lang="en-IN" sz="600" i="1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</a:rPr>
              <a:t>PDRSS106:RSSD06</a:t>
            </a:r>
            <a:endParaRPr lang="en-US" sz="600" i="1">
              <a:solidFill>
                <a:schemeClr val="accent6">
                  <a:lumMod val="50000"/>
                </a:schemeClr>
              </a:solidFill>
              <a:latin typeface="Calibri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695964D-CA98-18E0-341A-57F0A0A28667}"/>
              </a:ext>
            </a:extLst>
          </p:cNvPr>
          <p:cNvSpPr/>
          <p:nvPr/>
        </p:nvSpPr>
        <p:spPr>
          <a:xfrm>
            <a:off x="1329496" y="3637578"/>
            <a:ext cx="215913" cy="1236771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28575">
            <a:solidFill>
              <a:schemeClr val="accent6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100"/>
              <a:t>T</a:t>
            </a:r>
          </a:p>
          <a:p>
            <a:pPr algn="ctr"/>
            <a:r>
              <a:rPr lang="en-IN" sz="1100"/>
              <a:t>R</a:t>
            </a:r>
          </a:p>
          <a:p>
            <a:pPr algn="ctr"/>
            <a:r>
              <a:rPr lang="en-IN" sz="1100"/>
              <a:t>U</a:t>
            </a:r>
          </a:p>
          <a:p>
            <a:pPr algn="ctr"/>
            <a:r>
              <a:rPr lang="en-IN" sz="1100"/>
              <a:t>S</a:t>
            </a:r>
          </a:p>
          <a:p>
            <a:pPr algn="ctr"/>
            <a:r>
              <a:rPr lang="en-IN" sz="1100"/>
              <a:t>T</a:t>
            </a:r>
          </a:p>
          <a:p>
            <a:pPr algn="ctr"/>
            <a:r>
              <a:rPr lang="en-IN" sz="1100"/>
              <a:t>E</a:t>
            </a:r>
          </a:p>
          <a:p>
            <a:pPr algn="ctr"/>
            <a:r>
              <a:rPr lang="en-IN" sz="1100"/>
              <a:t>D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3858D292-59F6-151D-9848-05FFD260EFDC}"/>
              </a:ext>
            </a:extLst>
          </p:cNvPr>
          <p:cNvGrpSpPr/>
          <p:nvPr/>
        </p:nvGrpSpPr>
        <p:grpSpPr>
          <a:xfrm>
            <a:off x="304731" y="1112767"/>
            <a:ext cx="846742" cy="341839"/>
            <a:chOff x="373241" y="1104398"/>
            <a:chExt cx="846742" cy="341839"/>
          </a:xfrm>
        </p:grpSpPr>
        <p:pic>
          <p:nvPicPr>
            <p:cNvPr id="183" name="Graphic 23">
              <a:extLst>
                <a:ext uri="{FF2B5EF4-FFF2-40B4-BE49-F238E27FC236}">
                  <a16:creationId xmlns:a16="http://schemas.microsoft.com/office/drawing/2014/main" id="{F65B063F-69A8-C84A-8E16-92A9FE6C6D1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/>
            <a:stretch/>
          </p:blipFill>
          <p:spPr bwMode="auto">
            <a:xfrm flipH="1">
              <a:off x="373241" y="1112767"/>
              <a:ext cx="353260" cy="3334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1DEBA1D0-892E-BF56-572C-727405DF2E2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/>
            <a:srcRect l="4944" t="464" r="1286" b="1166"/>
            <a:stretch/>
          </p:blipFill>
          <p:spPr>
            <a:xfrm>
              <a:off x="867728" y="1104398"/>
              <a:ext cx="352255" cy="333470"/>
            </a:xfrm>
            <a:prstGeom prst="rect">
              <a:avLst/>
            </a:prstGeom>
          </p:spPr>
        </p:pic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id="{14D4C508-7A93-AFCB-1D99-4213A86B9CDD}"/>
              </a:ext>
            </a:extLst>
          </p:cNvPr>
          <p:cNvSpPr/>
          <p:nvPr/>
        </p:nvSpPr>
        <p:spPr>
          <a:xfrm>
            <a:off x="1343206" y="547844"/>
            <a:ext cx="210268" cy="181017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28575">
            <a:solidFill>
              <a:schemeClr val="accent6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100"/>
              <a:t>T</a:t>
            </a:r>
          </a:p>
          <a:p>
            <a:pPr algn="ctr"/>
            <a:r>
              <a:rPr lang="en-IN" sz="1100"/>
              <a:t>R</a:t>
            </a:r>
          </a:p>
          <a:p>
            <a:pPr algn="ctr"/>
            <a:r>
              <a:rPr lang="en-IN" sz="1100"/>
              <a:t>A</a:t>
            </a:r>
          </a:p>
          <a:p>
            <a:pPr algn="ctr"/>
            <a:r>
              <a:rPr lang="en-IN" sz="1100"/>
              <a:t>N</a:t>
            </a:r>
          </a:p>
          <a:p>
            <a:pPr algn="ctr"/>
            <a:r>
              <a:rPr lang="en-IN" sz="1100"/>
              <a:t>S</a:t>
            </a:r>
          </a:p>
          <a:p>
            <a:pPr algn="ctr"/>
            <a:r>
              <a:rPr lang="en-IN" sz="1100"/>
              <a:t>I</a:t>
            </a:r>
          </a:p>
          <a:p>
            <a:pPr algn="ctr"/>
            <a:r>
              <a:rPr lang="en-IN" sz="1100"/>
              <a:t>T</a:t>
            </a:r>
          </a:p>
          <a:p>
            <a:pPr algn="ctr"/>
            <a:r>
              <a:rPr lang="en-IN" sz="1100"/>
              <a:t>I</a:t>
            </a:r>
          </a:p>
          <a:p>
            <a:pPr algn="ctr"/>
            <a:r>
              <a:rPr lang="en-IN" sz="1100"/>
              <a:t>O</a:t>
            </a:r>
          </a:p>
          <a:p>
            <a:pPr algn="ctr"/>
            <a:r>
              <a:rPr lang="en-IN" sz="1100"/>
              <a:t>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54B7351-979C-DB60-9E78-74F8BC500576}"/>
              </a:ext>
            </a:extLst>
          </p:cNvPr>
          <p:cNvSpPr txBox="1"/>
          <p:nvPr/>
        </p:nvSpPr>
        <p:spPr>
          <a:xfrm>
            <a:off x="118908" y="2387084"/>
            <a:ext cx="1213087" cy="323165"/>
          </a:xfrm>
          <a:prstGeom prst="rect">
            <a:avLst/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en-IN" sz="750" b="1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CORP / INTERNAL (1-7 - TBD)</a:t>
            </a:r>
            <a:endParaRPr lang="en-US" sz="750" b="1">
              <a:solidFill>
                <a:schemeClr val="accent6">
                  <a:lumMod val="50000"/>
                </a:schemeClr>
              </a:solidFill>
              <a:latin typeface="Calibri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D3E23F6C-E7CF-574C-5DD6-6EC0FADD4B85}"/>
              </a:ext>
            </a:extLst>
          </p:cNvPr>
          <p:cNvGrpSpPr/>
          <p:nvPr/>
        </p:nvGrpSpPr>
        <p:grpSpPr>
          <a:xfrm>
            <a:off x="220135" y="3280972"/>
            <a:ext cx="497451" cy="208634"/>
            <a:chOff x="373241" y="1104398"/>
            <a:chExt cx="497451" cy="208634"/>
          </a:xfrm>
        </p:grpSpPr>
        <p:pic>
          <p:nvPicPr>
            <p:cNvPr id="44" name="Graphic 23">
              <a:extLst>
                <a:ext uri="{FF2B5EF4-FFF2-40B4-BE49-F238E27FC236}">
                  <a16:creationId xmlns:a16="http://schemas.microsoft.com/office/drawing/2014/main" id="{E379536C-271C-0E33-9296-65BAB2AF0B6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/>
            <a:stretch/>
          </p:blipFill>
          <p:spPr bwMode="auto">
            <a:xfrm flipH="1">
              <a:off x="373241" y="1112767"/>
              <a:ext cx="201210" cy="189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id="{59937CE3-1C4F-DB22-E03C-3F7483EDB7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/>
            <a:srcRect l="4944" t="464" r="1286" b="1166"/>
            <a:stretch/>
          </p:blipFill>
          <p:spPr>
            <a:xfrm>
              <a:off x="650305" y="1104398"/>
              <a:ext cx="220387" cy="208634"/>
            </a:xfrm>
            <a:prstGeom prst="rect">
              <a:avLst/>
            </a:prstGeom>
          </p:spPr>
        </p:pic>
      </p:grp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B9001E1A-85E4-3315-0DEA-DBF0D3028314}"/>
              </a:ext>
            </a:extLst>
          </p:cNvPr>
          <p:cNvCxnSpPr>
            <a:cxnSpLocks/>
            <a:stCxn id="39" idx="2"/>
            <a:endCxn id="107" idx="0"/>
          </p:cNvCxnSpPr>
          <p:nvPr/>
        </p:nvCxnSpPr>
        <p:spPr>
          <a:xfrm rot="5400000">
            <a:off x="766348" y="1655235"/>
            <a:ext cx="417997" cy="1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Connector: Elbow 54">
            <a:extLst>
              <a:ext uri="{FF2B5EF4-FFF2-40B4-BE49-F238E27FC236}">
                <a16:creationId xmlns:a16="http://schemas.microsoft.com/office/drawing/2014/main" id="{25127894-C544-B1CE-0DB7-817C8FDE79B7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501975" y="2988637"/>
            <a:ext cx="397755" cy="186916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Connector: Elbow 57">
            <a:extLst>
              <a:ext uri="{FF2B5EF4-FFF2-40B4-BE49-F238E27FC236}">
                <a16:creationId xmlns:a16="http://schemas.microsoft.com/office/drawing/2014/main" id="{D4BF1EE4-2238-8737-06D8-65CFC009FC59}"/>
              </a:ext>
            </a:extLst>
          </p:cNvPr>
          <p:cNvCxnSpPr>
            <a:cxnSpLocks/>
            <a:stCxn id="191" idx="1"/>
            <a:endCxn id="178" idx="2"/>
          </p:cNvCxnSpPr>
          <p:nvPr/>
        </p:nvCxnSpPr>
        <p:spPr>
          <a:xfrm rot="5400000" flipH="1" flipV="1">
            <a:off x="537269" y="3474157"/>
            <a:ext cx="649205" cy="229824"/>
          </a:xfrm>
          <a:prstGeom prst="bentConnector3">
            <a:avLst>
              <a:gd name="adj1" fmla="val 1244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F135F3AF-F371-8A00-7719-B34056060042}"/>
              </a:ext>
            </a:extLst>
          </p:cNvPr>
          <p:cNvSpPr txBox="1"/>
          <p:nvPr/>
        </p:nvSpPr>
        <p:spPr>
          <a:xfrm>
            <a:off x="233940" y="3640640"/>
            <a:ext cx="1057104" cy="207749"/>
          </a:xfrm>
          <a:prstGeom prst="rect">
            <a:avLst/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en-IN" sz="750" b="1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</a:rPr>
              <a:t>DIZ (16 - </a:t>
            </a:r>
            <a:r>
              <a:rPr lang="en-IN" sz="750" b="1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TBD</a:t>
            </a:r>
            <a:r>
              <a:rPr lang="en-IN" sz="750" b="1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</a:rPr>
              <a:t>)</a:t>
            </a:r>
            <a:endParaRPr lang="en-US" sz="750" b="1">
              <a:solidFill>
                <a:schemeClr val="accent6">
                  <a:lumMod val="50000"/>
                </a:schemeClr>
              </a:solidFill>
              <a:latin typeface="Calibri"/>
            </a:endParaRPr>
          </a:p>
        </p:txBody>
      </p: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F17292DF-222C-3F23-333A-B26BC2EC82F0}"/>
              </a:ext>
            </a:extLst>
          </p:cNvPr>
          <p:cNvCxnSpPr>
            <a:cxnSpLocks/>
            <a:stCxn id="73" idx="0"/>
            <a:endCxn id="95" idx="1"/>
          </p:cNvCxnSpPr>
          <p:nvPr/>
        </p:nvCxnSpPr>
        <p:spPr>
          <a:xfrm flipV="1">
            <a:off x="2894342" y="2013413"/>
            <a:ext cx="1243935" cy="130705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Arrow Connector 113">
            <a:extLst>
              <a:ext uri="{FF2B5EF4-FFF2-40B4-BE49-F238E27FC236}">
                <a16:creationId xmlns:a16="http://schemas.microsoft.com/office/drawing/2014/main" id="{27E6DB7E-0673-D747-6356-51BC84522526}"/>
              </a:ext>
            </a:extLst>
          </p:cNvPr>
          <p:cNvCxnSpPr>
            <a:cxnSpLocks/>
            <a:stCxn id="73" idx="3"/>
            <a:endCxn id="139" idx="1"/>
          </p:cNvCxnSpPr>
          <p:nvPr/>
        </p:nvCxnSpPr>
        <p:spPr>
          <a:xfrm>
            <a:off x="3067115" y="3477043"/>
            <a:ext cx="1411181" cy="42106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819237CA-63B1-366A-8F26-ED8C96FA60D4}"/>
              </a:ext>
            </a:extLst>
          </p:cNvPr>
          <p:cNvGrpSpPr/>
          <p:nvPr/>
        </p:nvGrpSpPr>
        <p:grpSpPr>
          <a:xfrm>
            <a:off x="2611689" y="3320469"/>
            <a:ext cx="579804" cy="735271"/>
            <a:chOff x="2289984" y="4282357"/>
            <a:chExt cx="579804" cy="735271"/>
          </a:xfrm>
        </p:grpSpPr>
        <p:pic>
          <p:nvPicPr>
            <p:cNvPr id="73" name="Picture 72" descr="Graphical user interface&#10;&#10;Description automatically generated with medium confidence">
              <a:extLst>
                <a:ext uri="{FF2B5EF4-FFF2-40B4-BE49-F238E27FC236}">
                  <a16:creationId xmlns:a16="http://schemas.microsoft.com/office/drawing/2014/main" id="{A35C993C-148D-4FC6-AED9-7274F45C8F2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4788" t="22617" r="8958" b="20391"/>
            <a:stretch/>
          </p:blipFill>
          <p:spPr>
            <a:xfrm>
              <a:off x="2399863" y="4282357"/>
              <a:ext cx="345547" cy="313147"/>
            </a:xfrm>
            <a:prstGeom prst="rect">
              <a:avLst/>
            </a:prstGeom>
            <a:noFill/>
          </p:spPr>
        </p:pic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C18DB95D-1CAA-9EFC-9D1F-591B3D53B1DB}"/>
                </a:ext>
              </a:extLst>
            </p:cNvPr>
            <p:cNvSpPr txBox="1"/>
            <p:nvPr/>
          </p:nvSpPr>
          <p:spPr>
            <a:xfrm>
              <a:off x="2289984" y="4579046"/>
              <a:ext cx="579804" cy="438582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rtlCol="0">
              <a:spAutoFit/>
            </a:bodyPr>
            <a:lstStyle/>
            <a:p>
              <a:pPr algn="ctr" defTabSz="685800">
                <a:defRPr/>
              </a:pPr>
              <a:r>
                <a:rPr lang="en-US" sz="750">
                  <a:latin typeface="Calibri"/>
                </a:rPr>
                <a:t>Flat File Datasets from S3</a:t>
              </a:r>
            </a:p>
          </p:txBody>
        </p:sp>
      </p:grpSp>
      <p:sp>
        <p:nvSpPr>
          <p:cNvPr id="132" name="TextBox 131">
            <a:extLst>
              <a:ext uri="{FF2B5EF4-FFF2-40B4-BE49-F238E27FC236}">
                <a16:creationId xmlns:a16="http://schemas.microsoft.com/office/drawing/2014/main" id="{35479CFC-4682-1187-8B2A-DE73FD02C1EB}"/>
              </a:ext>
            </a:extLst>
          </p:cNvPr>
          <p:cNvSpPr txBox="1"/>
          <p:nvPr/>
        </p:nvSpPr>
        <p:spPr>
          <a:xfrm>
            <a:off x="8357358" y="2126184"/>
            <a:ext cx="734003" cy="553998"/>
          </a:xfrm>
          <a:prstGeom prst="rect">
            <a:avLst/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en-US" sz="750" dirty="0">
                <a:latin typeface="Calibri"/>
              </a:rPr>
              <a:t>Processed datasets, C360, model artifacts, etc.</a:t>
            </a:r>
          </a:p>
        </p:txBody>
      </p: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7F181C7C-2D95-6008-7303-68C2725BD706}"/>
              </a:ext>
            </a:extLst>
          </p:cNvPr>
          <p:cNvGrpSpPr/>
          <p:nvPr/>
        </p:nvGrpSpPr>
        <p:grpSpPr>
          <a:xfrm>
            <a:off x="4610763" y="3578952"/>
            <a:ext cx="982986" cy="723854"/>
            <a:chOff x="4610763" y="3578952"/>
            <a:chExt cx="982986" cy="723854"/>
          </a:xfrm>
        </p:grpSpPr>
        <p:grpSp>
          <p:nvGrpSpPr>
            <p:cNvPr id="144" name="Group 143">
              <a:extLst>
                <a:ext uri="{FF2B5EF4-FFF2-40B4-BE49-F238E27FC236}">
                  <a16:creationId xmlns:a16="http://schemas.microsoft.com/office/drawing/2014/main" id="{75C1E0FE-D3C4-BFD2-29A8-8EC5A44F28FE}"/>
                </a:ext>
              </a:extLst>
            </p:cNvPr>
            <p:cNvGrpSpPr/>
            <p:nvPr/>
          </p:nvGrpSpPr>
          <p:grpSpPr>
            <a:xfrm>
              <a:off x="4610763" y="3578952"/>
              <a:ext cx="982986" cy="723854"/>
              <a:chOff x="3936584" y="4795760"/>
              <a:chExt cx="1310647" cy="965138"/>
            </a:xfrm>
          </p:grpSpPr>
          <p:pic>
            <p:nvPicPr>
              <p:cNvPr id="138" name="Picture 137">
                <a:extLst>
                  <a:ext uri="{FF2B5EF4-FFF2-40B4-BE49-F238E27FC236}">
                    <a16:creationId xmlns:a16="http://schemas.microsoft.com/office/drawing/2014/main" id="{5FF5983F-7210-2FA5-F1AE-DDA01593B9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/>
              <a:stretch>
                <a:fillRect/>
              </a:stretch>
            </p:blipFill>
            <p:spPr>
              <a:xfrm>
                <a:off x="4046586" y="4795760"/>
                <a:ext cx="568228" cy="529118"/>
              </a:xfrm>
              <a:prstGeom prst="rect">
                <a:avLst/>
              </a:prstGeom>
            </p:spPr>
          </p:pic>
          <p:sp>
            <p:nvSpPr>
              <p:cNvPr id="143" name="TextBox 142">
                <a:extLst>
                  <a:ext uri="{FF2B5EF4-FFF2-40B4-BE49-F238E27FC236}">
                    <a16:creationId xmlns:a16="http://schemas.microsoft.com/office/drawing/2014/main" id="{BBBBD522-C844-D13B-E995-027E38342059}"/>
                  </a:ext>
                </a:extLst>
              </p:cNvPr>
              <p:cNvSpPr txBox="1"/>
              <p:nvPr/>
            </p:nvSpPr>
            <p:spPr>
              <a:xfrm>
                <a:off x="3936584" y="5360789"/>
                <a:ext cx="1310647" cy="400109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 defTabSz="685800">
                  <a:defRPr/>
                </a:pPr>
                <a:r>
                  <a:rPr lang="en-IN" sz="675">
                    <a:latin typeface="Calibri" panose="020F0502020204030204" pitchFamily="34" charset="0"/>
                  </a:rPr>
                  <a:t>Auto-Scaling </a:t>
                </a:r>
                <a:r>
                  <a:rPr lang="en-IN" sz="675">
                    <a:latin typeface="Calibri" panose="020F0502020204030204" pitchFamily="34" charset="0"/>
                    <a:ea typeface="Calibri" panose="020F0502020204030204" pitchFamily="34" charset="0"/>
                  </a:rPr>
                  <a:t>Persistent </a:t>
                </a:r>
                <a:endParaRPr lang="en-IN" sz="675">
                  <a:latin typeface="Calibri" panose="020F0502020204030204" pitchFamily="34" charset="0"/>
                </a:endParaRPr>
              </a:p>
              <a:p>
                <a:pPr algn="ctr" defTabSz="685800">
                  <a:defRPr/>
                </a:pPr>
                <a:r>
                  <a:rPr lang="en-IN" sz="675">
                    <a:latin typeface="Calibri" panose="020F0502020204030204" pitchFamily="34" charset="0"/>
                    <a:ea typeface="Calibri" panose="020F0502020204030204" pitchFamily="34" charset="0"/>
                  </a:rPr>
                  <a:t>EMR Cluster</a:t>
                </a:r>
                <a:endParaRPr lang="en-US" sz="675">
                  <a:latin typeface="Calibri"/>
                </a:endParaRPr>
              </a:p>
            </p:txBody>
          </p:sp>
        </p:grpSp>
        <p:pic>
          <p:nvPicPr>
            <p:cNvPr id="155" name="Picture 154">
              <a:extLst>
                <a:ext uri="{FF2B5EF4-FFF2-40B4-BE49-F238E27FC236}">
                  <a16:creationId xmlns:a16="http://schemas.microsoft.com/office/drawing/2014/main" id="{BA37233C-6700-EF1D-7C2E-6F2067CC3D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9"/>
            <a:srcRect l="5727" t="1425" r="3376" b="4006"/>
            <a:stretch/>
          </p:blipFill>
          <p:spPr>
            <a:xfrm>
              <a:off x="5119436" y="3596522"/>
              <a:ext cx="384244" cy="359973"/>
            </a:xfrm>
            <a:prstGeom prst="rect">
              <a:avLst/>
            </a:prstGeom>
          </p:spPr>
        </p:pic>
      </p:grpSp>
      <p:grpSp>
        <p:nvGrpSpPr>
          <p:cNvPr id="166" name="Group 165">
            <a:extLst>
              <a:ext uri="{FF2B5EF4-FFF2-40B4-BE49-F238E27FC236}">
                <a16:creationId xmlns:a16="http://schemas.microsoft.com/office/drawing/2014/main" id="{C6D66FC3-8276-FC03-5FC3-59709CCC7267}"/>
              </a:ext>
            </a:extLst>
          </p:cNvPr>
          <p:cNvGrpSpPr/>
          <p:nvPr/>
        </p:nvGrpSpPr>
        <p:grpSpPr>
          <a:xfrm>
            <a:off x="2598594" y="4199930"/>
            <a:ext cx="579804" cy="682010"/>
            <a:chOff x="2616745" y="1844134"/>
            <a:chExt cx="579804" cy="682010"/>
          </a:xfrm>
        </p:grpSpPr>
        <p:pic>
          <p:nvPicPr>
            <p:cNvPr id="158" name="Picture 157">
              <a:extLst>
                <a:ext uri="{FF2B5EF4-FFF2-40B4-BE49-F238E27FC236}">
                  <a16:creationId xmlns:a16="http://schemas.microsoft.com/office/drawing/2014/main" id="{2DD2B7C6-9EA6-A3C9-00D3-DE1C88A7ECA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0"/>
            <a:srcRect l="5907" t="5688" r="6360" b="6619"/>
            <a:stretch/>
          </p:blipFill>
          <p:spPr>
            <a:xfrm>
              <a:off x="2737213" y="1844134"/>
              <a:ext cx="322582" cy="338557"/>
            </a:xfrm>
            <a:prstGeom prst="rect">
              <a:avLst/>
            </a:prstGeom>
          </p:spPr>
        </p:pic>
        <p:sp>
          <p:nvSpPr>
            <p:cNvPr id="159" name="TextBox 158">
              <a:extLst>
                <a:ext uri="{FF2B5EF4-FFF2-40B4-BE49-F238E27FC236}">
                  <a16:creationId xmlns:a16="http://schemas.microsoft.com/office/drawing/2014/main" id="{E31AD877-D2B9-6AF1-59CB-E69EE7A4A16B}"/>
                </a:ext>
              </a:extLst>
            </p:cNvPr>
            <p:cNvSpPr txBox="1"/>
            <p:nvPr/>
          </p:nvSpPr>
          <p:spPr>
            <a:xfrm>
              <a:off x="2616745" y="2202979"/>
              <a:ext cx="579804" cy="323165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rtlCol="0">
              <a:spAutoFit/>
            </a:bodyPr>
            <a:lstStyle/>
            <a:p>
              <a:pPr algn="ctr" defTabSz="685800">
                <a:defRPr/>
              </a:pPr>
              <a:r>
                <a:rPr lang="en-US" sz="750">
                  <a:latin typeface="Calibri"/>
                </a:rPr>
                <a:t>Secrets Manager</a:t>
              </a:r>
            </a:p>
          </p:txBody>
        </p:sp>
      </p:grpSp>
      <p:grpSp>
        <p:nvGrpSpPr>
          <p:cNvPr id="167" name="Group 166">
            <a:extLst>
              <a:ext uri="{FF2B5EF4-FFF2-40B4-BE49-F238E27FC236}">
                <a16:creationId xmlns:a16="http://schemas.microsoft.com/office/drawing/2014/main" id="{DE028D8F-6FEC-93D6-3DF8-B262C8013F5C}"/>
              </a:ext>
            </a:extLst>
          </p:cNvPr>
          <p:cNvGrpSpPr/>
          <p:nvPr/>
        </p:nvGrpSpPr>
        <p:grpSpPr>
          <a:xfrm>
            <a:off x="8217657" y="1240170"/>
            <a:ext cx="397136" cy="486220"/>
            <a:chOff x="8402623" y="4078996"/>
            <a:chExt cx="401488" cy="476385"/>
          </a:xfrm>
        </p:grpSpPr>
        <p:pic>
          <p:nvPicPr>
            <p:cNvPr id="161" name="Picture 160">
              <a:extLst>
                <a:ext uri="{FF2B5EF4-FFF2-40B4-BE49-F238E27FC236}">
                  <a16:creationId xmlns:a16="http://schemas.microsoft.com/office/drawing/2014/main" id="{D0B1A323-8B85-288A-D6F3-E9430909E31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1"/>
            <a:srcRect l="3649" t="3881" r="3941" b="4188"/>
            <a:stretch/>
          </p:blipFill>
          <p:spPr>
            <a:xfrm>
              <a:off x="8431906" y="4078996"/>
              <a:ext cx="349818" cy="314550"/>
            </a:xfrm>
            <a:prstGeom prst="rect">
              <a:avLst/>
            </a:prstGeom>
          </p:spPr>
        </p:pic>
        <p:sp>
          <p:nvSpPr>
            <p:cNvPr id="165" name="TextBox 164">
              <a:extLst>
                <a:ext uri="{FF2B5EF4-FFF2-40B4-BE49-F238E27FC236}">
                  <a16:creationId xmlns:a16="http://schemas.microsoft.com/office/drawing/2014/main" id="{A616618F-05EE-9391-7D6E-76A06CBB77D0}"/>
                </a:ext>
              </a:extLst>
            </p:cNvPr>
            <p:cNvSpPr txBox="1"/>
            <p:nvPr/>
          </p:nvSpPr>
          <p:spPr>
            <a:xfrm>
              <a:off x="8402623" y="4339644"/>
              <a:ext cx="401488" cy="215737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rtlCol="0">
              <a:spAutoFit/>
            </a:bodyPr>
            <a:lstStyle/>
            <a:p>
              <a:pPr algn="ctr" defTabSz="685800">
                <a:defRPr/>
              </a:pPr>
              <a:r>
                <a:rPr lang="en-US" sz="750">
                  <a:latin typeface="Calibri"/>
                </a:rPr>
                <a:t>KMS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018C0906-D978-5B05-2CAE-66A4BB0653A5}"/>
              </a:ext>
            </a:extLst>
          </p:cNvPr>
          <p:cNvGrpSpPr/>
          <p:nvPr/>
        </p:nvGrpSpPr>
        <p:grpSpPr>
          <a:xfrm>
            <a:off x="8515880" y="3283866"/>
            <a:ext cx="429748" cy="555590"/>
            <a:chOff x="8388842" y="4400000"/>
            <a:chExt cx="429748" cy="555590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180ECAF5-9A0C-C94A-CC83-7F03AB10A280}"/>
                </a:ext>
              </a:extLst>
            </p:cNvPr>
            <p:cNvSpPr txBox="1"/>
            <p:nvPr/>
          </p:nvSpPr>
          <p:spPr>
            <a:xfrm>
              <a:off x="8388842" y="4632425"/>
              <a:ext cx="429748" cy="323165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txBody>
            <a:bodyPr wrap="square" rtlCol="0">
              <a:spAutoFit/>
            </a:bodyPr>
            <a:lstStyle/>
            <a:p>
              <a:pPr algn="ctr" defTabSz="685800">
                <a:defRPr/>
              </a:pPr>
              <a:r>
                <a:rPr lang="en-US" sz="750" dirty="0">
                  <a:latin typeface="Calibri"/>
                </a:rPr>
                <a:t>Cloud watch</a:t>
              </a: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AE2D81BC-28B4-7D74-C28E-93D46446309E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8443484" y="4400000"/>
              <a:ext cx="281870" cy="281870"/>
            </a:xfrm>
            <a:prstGeom prst="rect">
              <a:avLst/>
            </a:prstGeom>
          </p:spPr>
        </p:pic>
      </p:grp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AEDFCC9F-8F85-EB72-CE62-FC08D7CF6C9A}"/>
              </a:ext>
            </a:extLst>
          </p:cNvPr>
          <p:cNvCxnSpPr>
            <a:cxnSpLocks/>
            <a:stCxn id="161" idx="1"/>
            <a:endCxn id="18" idx="3"/>
          </p:cNvCxnSpPr>
          <p:nvPr/>
        </p:nvCxnSpPr>
        <p:spPr>
          <a:xfrm flipH="1">
            <a:off x="7157097" y="1400692"/>
            <a:ext cx="1089526" cy="58965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37E35A9D-4D15-8166-6396-4340552F3580}"/>
              </a:ext>
            </a:extLst>
          </p:cNvPr>
          <p:cNvCxnSpPr>
            <a:cxnSpLocks/>
            <a:stCxn id="161" idx="3"/>
            <a:endCxn id="21" idx="0"/>
          </p:cNvCxnSpPr>
          <p:nvPr/>
        </p:nvCxnSpPr>
        <p:spPr>
          <a:xfrm>
            <a:off x="8592649" y="1400692"/>
            <a:ext cx="146417" cy="44529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TextBox 106">
            <a:extLst>
              <a:ext uri="{FF2B5EF4-FFF2-40B4-BE49-F238E27FC236}">
                <a16:creationId xmlns:a16="http://schemas.microsoft.com/office/drawing/2014/main" id="{0FEA2C64-4039-37FD-1BFF-29273B96A8E9}"/>
              </a:ext>
            </a:extLst>
          </p:cNvPr>
          <p:cNvSpPr txBox="1"/>
          <p:nvPr/>
        </p:nvSpPr>
        <p:spPr>
          <a:xfrm>
            <a:off x="553232" y="1864234"/>
            <a:ext cx="844226" cy="230832"/>
          </a:xfrm>
          <a:prstGeom prst="rect">
            <a:avLst/>
          </a:prstGeom>
          <a:noFill/>
          <a:ln w="9525">
            <a:noFill/>
          </a:ln>
        </p:spPr>
        <p:txBody>
          <a:bodyPr wrap="square" rtlCol="0">
            <a:spAutoFit/>
          </a:bodyPr>
          <a:lstStyle/>
          <a:p>
            <a:r>
              <a:rPr lang="en-IN" sz="900" dirty="0"/>
              <a:t>MS HIS Server</a:t>
            </a:r>
          </a:p>
        </p:txBody>
      </p:sp>
      <p:cxnSp>
        <p:nvCxnSpPr>
          <p:cNvPr id="109" name="Connector: Elbow 108">
            <a:extLst>
              <a:ext uri="{FF2B5EF4-FFF2-40B4-BE49-F238E27FC236}">
                <a16:creationId xmlns:a16="http://schemas.microsoft.com/office/drawing/2014/main" id="{169C5EAA-BE1F-E368-8683-35310888AAAF}"/>
              </a:ext>
            </a:extLst>
          </p:cNvPr>
          <p:cNvCxnSpPr>
            <a:cxnSpLocks/>
            <a:stCxn id="107" idx="2"/>
            <a:endCxn id="177" idx="0"/>
          </p:cNvCxnSpPr>
          <p:nvPr/>
        </p:nvCxnSpPr>
        <p:spPr>
          <a:xfrm rot="16200000" flipH="1">
            <a:off x="673722" y="2396688"/>
            <a:ext cx="604682" cy="1437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44422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F27AA5BE-A636-14E5-D7DD-9FDFD3543FD7}"/>
              </a:ext>
            </a:extLst>
          </p:cNvPr>
          <p:cNvCxnSpPr/>
          <p:nvPr/>
        </p:nvCxnSpPr>
        <p:spPr>
          <a:xfrm>
            <a:off x="7785809" y="560712"/>
            <a:ext cx="0" cy="4395668"/>
          </a:xfrm>
          <a:prstGeom prst="line">
            <a:avLst/>
          </a:prstGeom>
          <a:ln w="12700">
            <a:prstDash val="lg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80" name="Rectangle 179">
            <a:extLst>
              <a:ext uri="{FF2B5EF4-FFF2-40B4-BE49-F238E27FC236}">
                <a16:creationId xmlns:a16="http://schemas.microsoft.com/office/drawing/2014/main" id="{FA074717-9297-A8A6-AC8E-8F90F0B01D88}"/>
              </a:ext>
            </a:extLst>
          </p:cNvPr>
          <p:cNvSpPr/>
          <p:nvPr/>
        </p:nvSpPr>
        <p:spPr>
          <a:xfrm>
            <a:off x="104775" y="563969"/>
            <a:ext cx="8915400" cy="4395668"/>
          </a:xfrm>
          <a:prstGeom prst="rect">
            <a:avLst/>
          </a:prstGeom>
          <a:noFill/>
          <a:ln w="190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7190" tIns="68580"/>
          <a:lstStyle/>
          <a:p>
            <a:pPr>
              <a:defRPr/>
            </a:pPr>
            <a:r>
              <a:rPr lang="en-US" sz="7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6753400-EB60-12C3-44D9-EC425407BD2C}"/>
              </a:ext>
            </a:extLst>
          </p:cNvPr>
          <p:cNvSpPr/>
          <p:nvPr/>
        </p:nvSpPr>
        <p:spPr>
          <a:xfrm>
            <a:off x="237735" y="1577686"/>
            <a:ext cx="650706" cy="333470"/>
          </a:xfrm>
          <a:prstGeom prst="rect">
            <a:avLst/>
          </a:prstGeom>
          <a:solidFill>
            <a:srgbClr val="FEBE1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342900">
              <a:defRPr/>
            </a:pPr>
            <a:r>
              <a:rPr lang="en-US" sz="750" b="1">
                <a:solidFill>
                  <a:schemeClr val="tx1"/>
                </a:solidFill>
                <a:latin typeface="Calibri" panose="020F0502020204030204"/>
              </a:rPr>
              <a:t>BiDA Use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3244E55-131F-4F11-7038-2B256CAD74F1}"/>
              </a:ext>
            </a:extLst>
          </p:cNvPr>
          <p:cNvSpPr/>
          <p:nvPr/>
        </p:nvSpPr>
        <p:spPr>
          <a:xfrm>
            <a:off x="234240" y="3963591"/>
            <a:ext cx="650706" cy="333470"/>
          </a:xfrm>
          <a:prstGeom prst="rect">
            <a:avLst/>
          </a:prstGeom>
          <a:solidFill>
            <a:srgbClr val="FFCB05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342900">
              <a:defRPr/>
            </a:pPr>
            <a:r>
              <a:rPr lang="en-US" sz="750" b="1">
                <a:solidFill>
                  <a:schemeClr val="tx1"/>
                </a:solidFill>
                <a:latin typeface="Calibri" panose="020F0502020204030204"/>
              </a:rPr>
              <a:t>Data Science User</a:t>
            </a:r>
          </a:p>
        </p:txBody>
      </p:sp>
      <p:cxnSp>
        <p:nvCxnSpPr>
          <p:cNvPr id="7" name="Connector: Elbow 6">
            <a:extLst>
              <a:ext uri="{FF2B5EF4-FFF2-40B4-BE49-F238E27FC236}">
                <a16:creationId xmlns:a16="http://schemas.microsoft.com/office/drawing/2014/main" id="{95FE2F05-EDE4-0A7E-F713-175DB79C3659}"/>
              </a:ext>
            </a:extLst>
          </p:cNvPr>
          <p:cNvCxnSpPr>
            <a:cxnSpLocks/>
            <a:stCxn id="4" idx="0"/>
          </p:cNvCxnSpPr>
          <p:nvPr/>
        </p:nvCxnSpPr>
        <p:spPr>
          <a:xfrm rot="5400000" flipH="1" flipV="1">
            <a:off x="578135" y="3052442"/>
            <a:ext cx="892608" cy="929691"/>
          </a:xfrm>
          <a:prstGeom prst="bentConnector2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4F59A4DB-D081-ABE4-F27F-13EEDABB27BB}"/>
              </a:ext>
            </a:extLst>
          </p:cNvPr>
          <p:cNvCxnSpPr>
            <a:cxnSpLocks/>
            <a:stCxn id="2" idx="2"/>
          </p:cNvCxnSpPr>
          <p:nvPr/>
        </p:nvCxnSpPr>
        <p:spPr>
          <a:xfrm rot="16200000" flipH="1">
            <a:off x="566184" y="1908059"/>
            <a:ext cx="921437" cy="927629"/>
          </a:xfrm>
          <a:prstGeom prst="bentConnector2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14BD2421-F34C-7BD3-0AE7-6EF29DC4A460}"/>
              </a:ext>
            </a:extLst>
          </p:cNvPr>
          <p:cNvSpPr/>
          <p:nvPr/>
        </p:nvSpPr>
        <p:spPr>
          <a:xfrm>
            <a:off x="1487222" y="2784564"/>
            <a:ext cx="650706" cy="333469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342900">
              <a:defRPr/>
            </a:pPr>
            <a:r>
              <a:rPr lang="en-US" sz="750" b="1">
                <a:solidFill>
                  <a:schemeClr val="bg1"/>
                </a:solidFill>
                <a:latin typeface="Calibri" panose="020F0502020204030204"/>
              </a:rPr>
              <a:t>Sign In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6DBCE80A-1F91-AEA8-6A70-8DF9822B8395}"/>
              </a:ext>
            </a:extLst>
          </p:cNvPr>
          <p:cNvSpPr/>
          <p:nvPr/>
        </p:nvSpPr>
        <p:spPr>
          <a:xfrm>
            <a:off x="3118204" y="1102432"/>
            <a:ext cx="720471" cy="333469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IN" sz="750" b="1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isualization Module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4FE20A6D-E844-CD48-8248-0013F5161537}"/>
              </a:ext>
            </a:extLst>
          </p:cNvPr>
          <p:cNvSpPr/>
          <p:nvPr/>
        </p:nvSpPr>
        <p:spPr>
          <a:xfrm>
            <a:off x="3099490" y="2537874"/>
            <a:ext cx="748163" cy="333469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7000"/>
              </a:lnSpc>
              <a:spcAft>
                <a:spcPts val="600"/>
              </a:spcAft>
            </a:pPr>
            <a:r>
              <a:rPr lang="en-IN" sz="750" b="1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TL Module</a:t>
            </a:r>
            <a:endParaRPr lang="en-US" altLang="en-US" sz="75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B3DAF05D-0604-572C-38CB-B50EDB64765E}"/>
              </a:ext>
            </a:extLst>
          </p:cNvPr>
          <p:cNvSpPr/>
          <p:nvPr/>
        </p:nvSpPr>
        <p:spPr>
          <a:xfrm>
            <a:off x="3135066" y="3310056"/>
            <a:ext cx="748163" cy="333469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7000"/>
              </a:lnSpc>
              <a:spcAft>
                <a:spcPts val="600"/>
              </a:spcAft>
            </a:pPr>
            <a:r>
              <a:rPr lang="en-IN" sz="750" b="1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L Training Module</a:t>
            </a:r>
            <a:endParaRPr lang="en-US" altLang="en-US" sz="75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848FC379-6AE4-7636-A1E3-BB44CCD8826C}"/>
              </a:ext>
            </a:extLst>
          </p:cNvPr>
          <p:cNvSpPr/>
          <p:nvPr/>
        </p:nvSpPr>
        <p:spPr>
          <a:xfrm>
            <a:off x="3118204" y="4545234"/>
            <a:ext cx="748163" cy="333469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7000"/>
              </a:lnSpc>
              <a:spcAft>
                <a:spcPts val="600"/>
              </a:spcAft>
            </a:pPr>
            <a:r>
              <a:rPr lang="en-IN" sz="750" b="1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cheduler</a:t>
            </a:r>
            <a:endParaRPr lang="en-US" altLang="en-US" sz="75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cxnSp>
        <p:nvCxnSpPr>
          <p:cNvPr id="75" name="Connector: Elbow 74">
            <a:extLst>
              <a:ext uri="{FF2B5EF4-FFF2-40B4-BE49-F238E27FC236}">
                <a16:creationId xmlns:a16="http://schemas.microsoft.com/office/drawing/2014/main" id="{4355A9A8-5A63-3E24-0241-834E2172A602}"/>
              </a:ext>
            </a:extLst>
          </p:cNvPr>
          <p:cNvCxnSpPr>
            <a:cxnSpLocks/>
            <a:stCxn id="22" idx="3"/>
            <a:endCxn id="61" idx="1"/>
          </p:cNvCxnSpPr>
          <p:nvPr/>
        </p:nvCxnSpPr>
        <p:spPr>
          <a:xfrm flipV="1">
            <a:off x="2137928" y="1269167"/>
            <a:ext cx="980276" cy="168213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Connector: Elbow 76">
            <a:extLst>
              <a:ext uri="{FF2B5EF4-FFF2-40B4-BE49-F238E27FC236}">
                <a16:creationId xmlns:a16="http://schemas.microsoft.com/office/drawing/2014/main" id="{50B725C6-8F56-1DF3-F47E-45ACEC875E37}"/>
              </a:ext>
            </a:extLst>
          </p:cNvPr>
          <p:cNvCxnSpPr>
            <a:cxnSpLocks/>
            <a:stCxn id="22" idx="3"/>
            <a:endCxn id="63" idx="1"/>
          </p:cNvCxnSpPr>
          <p:nvPr/>
        </p:nvCxnSpPr>
        <p:spPr>
          <a:xfrm flipV="1">
            <a:off x="2137928" y="2704609"/>
            <a:ext cx="961562" cy="246690"/>
          </a:xfrm>
          <a:prstGeom prst="bentConnector3">
            <a:avLst>
              <a:gd name="adj1" fmla="val 5066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nector: Elbow 81">
            <a:extLst>
              <a:ext uri="{FF2B5EF4-FFF2-40B4-BE49-F238E27FC236}">
                <a16:creationId xmlns:a16="http://schemas.microsoft.com/office/drawing/2014/main" id="{6B063608-8B50-A9E2-8B30-50F12FB69535}"/>
              </a:ext>
            </a:extLst>
          </p:cNvPr>
          <p:cNvCxnSpPr>
            <a:cxnSpLocks/>
            <a:stCxn id="22" idx="3"/>
            <a:endCxn id="64" idx="1"/>
          </p:cNvCxnSpPr>
          <p:nvPr/>
        </p:nvCxnSpPr>
        <p:spPr>
          <a:xfrm>
            <a:off x="2137928" y="2951299"/>
            <a:ext cx="997138" cy="525492"/>
          </a:xfrm>
          <a:prstGeom prst="bentConnector3">
            <a:avLst>
              <a:gd name="adj1" fmla="val 49363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Connector: Elbow 82">
            <a:extLst>
              <a:ext uri="{FF2B5EF4-FFF2-40B4-BE49-F238E27FC236}">
                <a16:creationId xmlns:a16="http://schemas.microsoft.com/office/drawing/2014/main" id="{2AA265A6-EB33-6603-6CD5-2B3FF31BE3A1}"/>
              </a:ext>
            </a:extLst>
          </p:cNvPr>
          <p:cNvCxnSpPr>
            <a:cxnSpLocks/>
            <a:stCxn id="22" idx="3"/>
            <a:endCxn id="66" idx="1"/>
          </p:cNvCxnSpPr>
          <p:nvPr/>
        </p:nvCxnSpPr>
        <p:spPr>
          <a:xfrm>
            <a:off x="2137928" y="2951299"/>
            <a:ext cx="980276" cy="176067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8" name="Rectangle 187">
            <a:extLst>
              <a:ext uri="{FF2B5EF4-FFF2-40B4-BE49-F238E27FC236}">
                <a16:creationId xmlns:a16="http://schemas.microsoft.com/office/drawing/2014/main" id="{A73E6C11-3C69-073C-BC5D-525C7514ED9C}"/>
              </a:ext>
            </a:extLst>
          </p:cNvPr>
          <p:cNvSpPr/>
          <p:nvPr/>
        </p:nvSpPr>
        <p:spPr>
          <a:xfrm>
            <a:off x="1414937" y="3982373"/>
            <a:ext cx="788098" cy="333469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342900">
              <a:defRPr/>
            </a:pPr>
            <a:r>
              <a:rPr lang="en-US" sz="750" b="1">
                <a:solidFill>
                  <a:schemeClr val="bg1"/>
                </a:solidFill>
                <a:latin typeface="Calibri" panose="020F0502020204030204"/>
              </a:rPr>
              <a:t>Authentication</a:t>
            </a:r>
          </a:p>
        </p:txBody>
      </p:sp>
      <p:cxnSp>
        <p:nvCxnSpPr>
          <p:cNvPr id="249" name="Straight Arrow Connector 248">
            <a:extLst>
              <a:ext uri="{FF2B5EF4-FFF2-40B4-BE49-F238E27FC236}">
                <a16:creationId xmlns:a16="http://schemas.microsoft.com/office/drawing/2014/main" id="{F92798BE-7BF2-6395-7C06-AD5B4A1AB6B7}"/>
              </a:ext>
            </a:extLst>
          </p:cNvPr>
          <p:cNvCxnSpPr>
            <a:cxnSpLocks/>
            <a:stCxn id="22" idx="2"/>
            <a:endCxn id="188" idx="0"/>
          </p:cNvCxnSpPr>
          <p:nvPr/>
        </p:nvCxnSpPr>
        <p:spPr>
          <a:xfrm flipH="1">
            <a:off x="1808986" y="3118033"/>
            <a:ext cx="3589" cy="86434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Rectangle 255">
            <a:extLst>
              <a:ext uri="{FF2B5EF4-FFF2-40B4-BE49-F238E27FC236}">
                <a16:creationId xmlns:a16="http://schemas.microsoft.com/office/drawing/2014/main" id="{C76ADD66-477F-3AC9-8E09-6F9B2138DF44}"/>
              </a:ext>
            </a:extLst>
          </p:cNvPr>
          <p:cNvSpPr/>
          <p:nvPr/>
        </p:nvSpPr>
        <p:spPr>
          <a:xfrm>
            <a:off x="1430723" y="3486782"/>
            <a:ext cx="748161" cy="3334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3"/>
            </a:solidFill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342900">
              <a:defRPr/>
            </a:pPr>
            <a:r>
              <a:rPr lang="en-US" sz="750">
                <a:solidFill>
                  <a:schemeClr val="tx1"/>
                </a:solidFill>
                <a:latin typeface="Calibri" panose="020F0502020204030204"/>
              </a:rPr>
              <a:t>User Authorization</a:t>
            </a:r>
          </a:p>
        </p:txBody>
      </p:sp>
      <p:sp>
        <p:nvSpPr>
          <p:cNvPr id="257" name="Flowchart: Magnetic Disk 256">
            <a:extLst>
              <a:ext uri="{FF2B5EF4-FFF2-40B4-BE49-F238E27FC236}">
                <a16:creationId xmlns:a16="http://schemas.microsoft.com/office/drawing/2014/main" id="{DDD5978C-4640-1317-C39E-9A13714304EE}"/>
              </a:ext>
            </a:extLst>
          </p:cNvPr>
          <p:cNvSpPr/>
          <p:nvPr/>
        </p:nvSpPr>
        <p:spPr>
          <a:xfrm>
            <a:off x="6504658" y="1183949"/>
            <a:ext cx="876468" cy="867216"/>
          </a:xfrm>
          <a:prstGeom prst="flowChartMagneticDisk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900" b="1">
                <a:solidFill>
                  <a:schemeClr val="bg1"/>
                </a:solidFill>
              </a:rPr>
              <a:t>PostgreSQL</a:t>
            </a:r>
          </a:p>
          <a:p>
            <a:pPr algn="ctr"/>
            <a:endParaRPr lang="en-IN" sz="900" b="1">
              <a:solidFill>
                <a:schemeClr val="bg1"/>
              </a:solidFill>
            </a:endParaRPr>
          </a:p>
          <a:p>
            <a:pPr algn="ctr"/>
            <a:endParaRPr lang="en-IN" sz="900" b="1">
              <a:solidFill>
                <a:schemeClr val="bg1"/>
              </a:solidFill>
            </a:endParaRPr>
          </a:p>
        </p:txBody>
      </p:sp>
      <p:cxnSp>
        <p:nvCxnSpPr>
          <p:cNvPr id="259" name="Connector: Elbow 258">
            <a:extLst>
              <a:ext uri="{FF2B5EF4-FFF2-40B4-BE49-F238E27FC236}">
                <a16:creationId xmlns:a16="http://schemas.microsoft.com/office/drawing/2014/main" id="{ED527DA4-446D-8C8A-E777-BBA04519788D}"/>
              </a:ext>
            </a:extLst>
          </p:cNvPr>
          <p:cNvCxnSpPr>
            <a:cxnSpLocks/>
            <a:stCxn id="61" idx="0"/>
            <a:endCxn id="12" idx="0"/>
          </p:cNvCxnSpPr>
          <p:nvPr/>
        </p:nvCxnSpPr>
        <p:spPr>
          <a:xfrm rot="16200000" flipH="1">
            <a:off x="4716239" y="-135367"/>
            <a:ext cx="661022" cy="3136621"/>
          </a:xfrm>
          <a:prstGeom prst="bentConnector3">
            <a:avLst>
              <a:gd name="adj1" fmla="val -20106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0" name="Connector: Elbow 289">
            <a:extLst>
              <a:ext uri="{FF2B5EF4-FFF2-40B4-BE49-F238E27FC236}">
                <a16:creationId xmlns:a16="http://schemas.microsoft.com/office/drawing/2014/main" id="{D71A501C-6375-64C0-F089-A1941560F6FE}"/>
              </a:ext>
            </a:extLst>
          </p:cNvPr>
          <p:cNvCxnSpPr>
            <a:cxnSpLocks/>
            <a:stCxn id="12" idx="1"/>
            <a:endCxn id="61" idx="2"/>
          </p:cNvCxnSpPr>
          <p:nvPr/>
        </p:nvCxnSpPr>
        <p:spPr>
          <a:xfrm rot="10800000">
            <a:off x="3478441" y="1435901"/>
            <a:ext cx="3003641" cy="419886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8" name="Rectangle 327">
            <a:extLst>
              <a:ext uri="{FF2B5EF4-FFF2-40B4-BE49-F238E27FC236}">
                <a16:creationId xmlns:a16="http://schemas.microsoft.com/office/drawing/2014/main" id="{1FD582B4-249B-6B10-82ED-E897B7496333}"/>
              </a:ext>
            </a:extLst>
          </p:cNvPr>
          <p:cNvSpPr/>
          <p:nvPr/>
        </p:nvSpPr>
        <p:spPr>
          <a:xfrm>
            <a:off x="6490929" y="2508922"/>
            <a:ext cx="1190824" cy="1713461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en-IN" sz="900" b="1">
              <a:solidFill>
                <a:schemeClr val="bg1"/>
              </a:solidFill>
              <a:latin typeface="Calibri" panose="020F0502020204030204"/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en-IN" sz="900" b="1">
              <a:solidFill>
                <a:schemeClr val="bg1"/>
              </a:solidFill>
              <a:latin typeface="Calibri" panose="020F0502020204030204"/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en-IN" sz="900" b="1">
              <a:solidFill>
                <a:schemeClr val="bg1"/>
              </a:solidFill>
              <a:latin typeface="Calibri" panose="020F0502020204030204"/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en-IN" sz="900" b="1">
              <a:solidFill>
                <a:schemeClr val="bg1"/>
              </a:solidFill>
              <a:latin typeface="Calibri" panose="020F0502020204030204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en-IN" sz="900" b="1">
                <a:solidFill>
                  <a:schemeClr val="bg1"/>
                </a:solidFill>
                <a:latin typeface="Calibri" panose="020F0502020204030204"/>
                <a:cs typeface="Times New Roman" panose="02020603050405020304" pitchFamily="18" charset="0"/>
              </a:rPr>
              <a:t>ML Engine</a:t>
            </a:r>
            <a:endParaRPr lang="en-US" sz="900" b="1">
              <a:solidFill>
                <a:schemeClr val="bg1"/>
              </a:solidFill>
              <a:latin typeface="Calibri" panose="020F0502020204030204"/>
            </a:endParaRPr>
          </a:p>
        </p:txBody>
      </p:sp>
      <p:cxnSp>
        <p:nvCxnSpPr>
          <p:cNvPr id="347" name="Connector: Elbow 346">
            <a:extLst>
              <a:ext uri="{FF2B5EF4-FFF2-40B4-BE49-F238E27FC236}">
                <a16:creationId xmlns:a16="http://schemas.microsoft.com/office/drawing/2014/main" id="{1319E8B5-1821-93A4-3EF9-DB8F9B55B712}"/>
              </a:ext>
            </a:extLst>
          </p:cNvPr>
          <p:cNvCxnSpPr>
            <a:cxnSpLocks/>
            <a:stCxn id="63" idx="0"/>
          </p:cNvCxnSpPr>
          <p:nvPr/>
        </p:nvCxnSpPr>
        <p:spPr>
          <a:xfrm rot="16200000" flipH="1">
            <a:off x="5024692" y="986754"/>
            <a:ext cx="54704" cy="3156944"/>
          </a:xfrm>
          <a:prstGeom prst="bentConnector4">
            <a:avLst>
              <a:gd name="adj1" fmla="val -417885"/>
              <a:gd name="adj2" fmla="val 100046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2" name="Connector: Elbow 351">
            <a:extLst>
              <a:ext uri="{FF2B5EF4-FFF2-40B4-BE49-F238E27FC236}">
                <a16:creationId xmlns:a16="http://schemas.microsoft.com/office/drawing/2014/main" id="{2EA5BE2A-6D42-EBCF-1685-24C9F74446CC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4936415" y="1768624"/>
            <a:ext cx="114166" cy="2968699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1" name="Connector: Elbow 430">
            <a:extLst>
              <a:ext uri="{FF2B5EF4-FFF2-40B4-BE49-F238E27FC236}">
                <a16:creationId xmlns:a16="http://schemas.microsoft.com/office/drawing/2014/main" id="{7230A068-FE59-F76F-4448-097855653382}"/>
              </a:ext>
            </a:extLst>
          </p:cNvPr>
          <p:cNvCxnSpPr>
            <a:cxnSpLocks/>
            <a:stCxn id="105" idx="4"/>
            <a:endCxn id="64" idx="3"/>
          </p:cNvCxnSpPr>
          <p:nvPr/>
        </p:nvCxnSpPr>
        <p:spPr>
          <a:xfrm rot="5400000">
            <a:off x="5161486" y="2021239"/>
            <a:ext cx="177296" cy="2733809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34" name="Picture 533">
            <a:extLst>
              <a:ext uri="{FF2B5EF4-FFF2-40B4-BE49-F238E27FC236}">
                <a16:creationId xmlns:a16="http://schemas.microsoft.com/office/drawing/2014/main" id="{49F99FCC-FC8D-F457-5202-49E0E6303DD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2955" y="4532470"/>
            <a:ext cx="355600" cy="355600"/>
          </a:xfrm>
          <a:prstGeom prst="rect">
            <a:avLst/>
          </a:prstGeom>
        </p:spPr>
      </p:pic>
      <p:cxnSp>
        <p:nvCxnSpPr>
          <p:cNvPr id="541" name="Connector: Elbow 540">
            <a:extLst>
              <a:ext uri="{FF2B5EF4-FFF2-40B4-BE49-F238E27FC236}">
                <a16:creationId xmlns:a16="http://schemas.microsoft.com/office/drawing/2014/main" id="{37599CCE-4BBC-E01B-F02B-C7C6D3226508}"/>
              </a:ext>
            </a:extLst>
          </p:cNvPr>
          <p:cNvCxnSpPr>
            <a:cxnSpLocks/>
            <a:stCxn id="66" idx="3"/>
            <a:endCxn id="534" idx="1"/>
          </p:cNvCxnSpPr>
          <p:nvPr/>
        </p:nvCxnSpPr>
        <p:spPr>
          <a:xfrm flipV="1">
            <a:off x="3866367" y="4710270"/>
            <a:ext cx="3026588" cy="1699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1" name="Title 2">
            <a:extLst>
              <a:ext uri="{FF2B5EF4-FFF2-40B4-BE49-F238E27FC236}">
                <a16:creationId xmlns:a16="http://schemas.microsoft.com/office/drawing/2014/main" id="{6C38604E-349C-0225-1E36-F28E8C5FDDE1}"/>
              </a:ext>
            </a:extLst>
          </p:cNvPr>
          <p:cNvSpPr txBox="1">
            <a:spLocks/>
          </p:cNvSpPr>
          <p:nvPr/>
        </p:nvSpPr>
        <p:spPr>
          <a:xfrm>
            <a:off x="66453" y="18840"/>
            <a:ext cx="5164348" cy="43576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3300"/>
              <a:t>Logical Architecture Diagram</a:t>
            </a:r>
            <a:endParaRPr lang="en-US" sz="3300"/>
          </a:p>
        </p:txBody>
      </p: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10DED360-8B7C-E957-828D-504AAA20FA5D}"/>
              </a:ext>
            </a:extLst>
          </p:cNvPr>
          <p:cNvGrpSpPr/>
          <p:nvPr/>
        </p:nvGrpSpPr>
        <p:grpSpPr>
          <a:xfrm>
            <a:off x="4299829" y="2184326"/>
            <a:ext cx="1533676" cy="244405"/>
            <a:chOff x="4277796" y="2488692"/>
            <a:chExt cx="1533676" cy="244405"/>
          </a:xfrm>
        </p:grpSpPr>
        <p:sp>
          <p:nvSpPr>
            <p:cNvPr id="366" name="Rectangle 365">
              <a:extLst>
                <a:ext uri="{FF2B5EF4-FFF2-40B4-BE49-F238E27FC236}">
                  <a16:creationId xmlns:a16="http://schemas.microsoft.com/office/drawing/2014/main" id="{6AFD0087-587C-ECF7-8AEA-64436FA9A1BB}"/>
                </a:ext>
              </a:extLst>
            </p:cNvPr>
            <p:cNvSpPr/>
            <p:nvPr/>
          </p:nvSpPr>
          <p:spPr>
            <a:xfrm>
              <a:off x="4445608" y="2488692"/>
              <a:ext cx="1365864" cy="24440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42900">
                <a:defRPr/>
              </a:pPr>
              <a:r>
                <a:rPr lang="en-US" sz="750">
                  <a:solidFill>
                    <a:schemeClr val="tx1"/>
                  </a:solidFill>
                  <a:latin typeface="Calibri" panose="020F0502020204030204"/>
                </a:rPr>
                <a:t>User Inputs – Dataset, transformations</a:t>
              </a:r>
            </a:p>
          </p:txBody>
        </p:sp>
        <p:grpSp>
          <p:nvGrpSpPr>
            <p:cNvPr id="563" name="Group 562">
              <a:extLst>
                <a:ext uri="{FF2B5EF4-FFF2-40B4-BE49-F238E27FC236}">
                  <a16:creationId xmlns:a16="http://schemas.microsoft.com/office/drawing/2014/main" id="{1EFBCAAE-3F1C-8184-1EE4-E02781DCD6FA}"/>
                </a:ext>
              </a:extLst>
            </p:cNvPr>
            <p:cNvGrpSpPr/>
            <p:nvPr/>
          </p:nvGrpSpPr>
          <p:grpSpPr>
            <a:xfrm>
              <a:off x="4277796" y="2507209"/>
              <a:ext cx="265960" cy="205427"/>
              <a:chOff x="1915391" y="1207791"/>
              <a:chExt cx="265960" cy="205427"/>
            </a:xfrm>
          </p:grpSpPr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63346AB6-110D-9137-41B0-FA3B36CE5483}"/>
                  </a:ext>
                </a:extLst>
              </p:cNvPr>
              <p:cNvSpPr/>
              <p:nvPr/>
            </p:nvSpPr>
            <p:spPr>
              <a:xfrm>
                <a:off x="1939756" y="1207791"/>
                <a:ext cx="217231" cy="205427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550">
                  <a:solidFill>
                    <a:schemeClr val="tx1"/>
                  </a:solidFill>
                </a:endParaRPr>
              </a:p>
            </p:txBody>
          </p:sp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1845053E-CC76-B5E1-AFFA-5613C2603DB3}"/>
                  </a:ext>
                </a:extLst>
              </p:cNvPr>
              <p:cNvSpPr txBox="1"/>
              <p:nvPr/>
            </p:nvSpPr>
            <p:spPr>
              <a:xfrm>
                <a:off x="1915391" y="1217280"/>
                <a:ext cx="265960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IN" sz="600"/>
                  <a:t>B1</a:t>
                </a:r>
              </a:p>
            </p:txBody>
          </p:sp>
        </p:grpSp>
      </p:grpSp>
      <p:grpSp>
        <p:nvGrpSpPr>
          <p:cNvPr id="564" name="Group 563">
            <a:extLst>
              <a:ext uri="{FF2B5EF4-FFF2-40B4-BE49-F238E27FC236}">
                <a16:creationId xmlns:a16="http://schemas.microsoft.com/office/drawing/2014/main" id="{5A9543DB-6828-EB07-CBA0-A05CFE35A702}"/>
              </a:ext>
            </a:extLst>
          </p:cNvPr>
          <p:cNvGrpSpPr/>
          <p:nvPr/>
        </p:nvGrpSpPr>
        <p:grpSpPr>
          <a:xfrm>
            <a:off x="1085815" y="2846896"/>
            <a:ext cx="265960" cy="205427"/>
            <a:chOff x="1915391" y="1207791"/>
            <a:chExt cx="265960" cy="205427"/>
          </a:xfrm>
        </p:grpSpPr>
        <p:sp>
          <p:nvSpPr>
            <p:cNvPr id="565" name="Oval 564">
              <a:extLst>
                <a:ext uri="{FF2B5EF4-FFF2-40B4-BE49-F238E27FC236}">
                  <a16:creationId xmlns:a16="http://schemas.microsoft.com/office/drawing/2014/main" id="{A7A9BF92-2263-B6EF-32F3-2C5829C01E6B}"/>
                </a:ext>
              </a:extLst>
            </p:cNvPr>
            <p:cNvSpPr/>
            <p:nvPr/>
          </p:nvSpPr>
          <p:spPr>
            <a:xfrm>
              <a:off x="1939756" y="1207791"/>
              <a:ext cx="217231" cy="205427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550">
                <a:solidFill>
                  <a:schemeClr val="tx1"/>
                </a:solidFill>
              </a:endParaRPr>
            </a:p>
          </p:txBody>
        </p:sp>
        <p:sp>
          <p:nvSpPr>
            <p:cNvPr id="566" name="TextBox 565">
              <a:extLst>
                <a:ext uri="{FF2B5EF4-FFF2-40B4-BE49-F238E27FC236}">
                  <a16:creationId xmlns:a16="http://schemas.microsoft.com/office/drawing/2014/main" id="{1B893AF5-E65A-7452-34EC-39CD97C7D87E}"/>
                </a:ext>
              </a:extLst>
            </p:cNvPr>
            <p:cNvSpPr txBox="1"/>
            <p:nvPr/>
          </p:nvSpPr>
          <p:spPr>
            <a:xfrm>
              <a:off x="1915391" y="1217280"/>
              <a:ext cx="265960" cy="18466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600"/>
                <a:t>1</a:t>
              </a:r>
            </a:p>
          </p:txBody>
        </p:sp>
      </p:grpSp>
      <p:grpSp>
        <p:nvGrpSpPr>
          <p:cNvPr id="567" name="Group 566">
            <a:extLst>
              <a:ext uri="{FF2B5EF4-FFF2-40B4-BE49-F238E27FC236}">
                <a16:creationId xmlns:a16="http://schemas.microsoft.com/office/drawing/2014/main" id="{A1BD1013-4950-A075-F71D-669C5A78CC2D}"/>
              </a:ext>
            </a:extLst>
          </p:cNvPr>
          <p:cNvGrpSpPr/>
          <p:nvPr/>
        </p:nvGrpSpPr>
        <p:grpSpPr>
          <a:xfrm>
            <a:off x="1679595" y="3312909"/>
            <a:ext cx="265960" cy="205427"/>
            <a:chOff x="1915391" y="1207791"/>
            <a:chExt cx="265960" cy="205427"/>
          </a:xfrm>
        </p:grpSpPr>
        <p:sp>
          <p:nvSpPr>
            <p:cNvPr id="568" name="Oval 567">
              <a:extLst>
                <a:ext uri="{FF2B5EF4-FFF2-40B4-BE49-F238E27FC236}">
                  <a16:creationId xmlns:a16="http://schemas.microsoft.com/office/drawing/2014/main" id="{92AFC63B-DDBD-58AA-4D34-B0F961247029}"/>
                </a:ext>
              </a:extLst>
            </p:cNvPr>
            <p:cNvSpPr/>
            <p:nvPr/>
          </p:nvSpPr>
          <p:spPr>
            <a:xfrm>
              <a:off x="1939756" y="1207791"/>
              <a:ext cx="217231" cy="205427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550">
                <a:solidFill>
                  <a:schemeClr val="tx1"/>
                </a:solidFill>
              </a:endParaRPr>
            </a:p>
          </p:txBody>
        </p:sp>
        <p:sp>
          <p:nvSpPr>
            <p:cNvPr id="569" name="TextBox 568">
              <a:extLst>
                <a:ext uri="{FF2B5EF4-FFF2-40B4-BE49-F238E27FC236}">
                  <a16:creationId xmlns:a16="http://schemas.microsoft.com/office/drawing/2014/main" id="{28C8F65F-FDB5-BF2C-A401-B27FFA5EF31A}"/>
                </a:ext>
              </a:extLst>
            </p:cNvPr>
            <p:cNvSpPr txBox="1"/>
            <p:nvPr/>
          </p:nvSpPr>
          <p:spPr>
            <a:xfrm>
              <a:off x="1915391" y="1217280"/>
              <a:ext cx="265960" cy="18466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600"/>
                <a:t>2</a:t>
              </a:r>
            </a:p>
          </p:txBody>
        </p:sp>
      </p:grpSp>
      <p:grpSp>
        <p:nvGrpSpPr>
          <p:cNvPr id="570" name="Group 569">
            <a:extLst>
              <a:ext uri="{FF2B5EF4-FFF2-40B4-BE49-F238E27FC236}">
                <a16:creationId xmlns:a16="http://schemas.microsoft.com/office/drawing/2014/main" id="{315A79A5-4852-855F-92E2-58D9167D9116}"/>
              </a:ext>
            </a:extLst>
          </p:cNvPr>
          <p:cNvGrpSpPr/>
          <p:nvPr/>
        </p:nvGrpSpPr>
        <p:grpSpPr>
          <a:xfrm>
            <a:off x="2611143" y="1168854"/>
            <a:ext cx="265960" cy="205427"/>
            <a:chOff x="1915391" y="1207791"/>
            <a:chExt cx="265960" cy="205427"/>
          </a:xfrm>
        </p:grpSpPr>
        <p:sp>
          <p:nvSpPr>
            <p:cNvPr id="571" name="Oval 570">
              <a:extLst>
                <a:ext uri="{FF2B5EF4-FFF2-40B4-BE49-F238E27FC236}">
                  <a16:creationId xmlns:a16="http://schemas.microsoft.com/office/drawing/2014/main" id="{1DE289EC-B705-A7B5-4EA2-9F6185423DE4}"/>
                </a:ext>
              </a:extLst>
            </p:cNvPr>
            <p:cNvSpPr/>
            <p:nvPr/>
          </p:nvSpPr>
          <p:spPr>
            <a:xfrm>
              <a:off x="1939756" y="1207791"/>
              <a:ext cx="217231" cy="205427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550">
                <a:solidFill>
                  <a:schemeClr val="tx1"/>
                </a:solidFill>
              </a:endParaRPr>
            </a:p>
          </p:txBody>
        </p:sp>
        <p:sp>
          <p:nvSpPr>
            <p:cNvPr id="572" name="TextBox 571">
              <a:extLst>
                <a:ext uri="{FF2B5EF4-FFF2-40B4-BE49-F238E27FC236}">
                  <a16:creationId xmlns:a16="http://schemas.microsoft.com/office/drawing/2014/main" id="{3B085E74-377C-EEB9-ACB8-666BB60104D9}"/>
                </a:ext>
              </a:extLst>
            </p:cNvPr>
            <p:cNvSpPr txBox="1"/>
            <p:nvPr/>
          </p:nvSpPr>
          <p:spPr>
            <a:xfrm>
              <a:off x="1915391" y="1217280"/>
              <a:ext cx="265960" cy="18466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600"/>
                <a:t>A</a:t>
              </a:r>
            </a:p>
          </p:txBody>
        </p:sp>
      </p:grp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7F04CBE7-313B-73AB-8471-3DA29B565B6B}"/>
              </a:ext>
            </a:extLst>
          </p:cNvPr>
          <p:cNvGrpSpPr/>
          <p:nvPr/>
        </p:nvGrpSpPr>
        <p:grpSpPr>
          <a:xfrm>
            <a:off x="4331466" y="855588"/>
            <a:ext cx="1638214" cy="205427"/>
            <a:chOff x="4285606" y="691025"/>
            <a:chExt cx="1638214" cy="205427"/>
          </a:xfrm>
        </p:grpSpPr>
        <p:sp>
          <p:nvSpPr>
            <p:cNvPr id="293" name="Rectangle 292">
              <a:extLst>
                <a:ext uri="{FF2B5EF4-FFF2-40B4-BE49-F238E27FC236}">
                  <a16:creationId xmlns:a16="http://schemas.microsoft.com/office/drawing/2014/main" id="{3CE94021-5085-562C-57D4-D8333961DC44}"/>
                </a:ext>
              </a:extLst>
            </p:cNvPr>
            <p:cNvSpPr/>
            <p:nvPr/>
          </p:nvSpPr>
          <p:spPr>
            <a:xfrm>
              <a:off x="4446547" y="697889"/>
              <a:ext cx="1477273" cy="197888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42900">
                <a:defRPr/>
              </a:pPr>
              <a:r>
                <a:rPr lang="en-US" sz="750">
                  <a:solidFill>
                    <a:schemeClr val="tx1"/>
                  </a:solidFill>
                  <a:latin typeface="Calibri" panose="020F0502020204030204"/>
                </a:rPr>
                <a:t>User Inputs – Model, KPI filters</a:t>
              </a:r>
            </a:p>
          </p:txBody>
        </p:sp>
        <p:grpSp>
          <p:nvGrpSpPr>
            <p:cNvPr id="573" name="Group 572">
              <a:extLst>
                <a:ext uri="{FF2B5EF4-FFF2-40B4-BE49-F238E27FC236}">
                  <a16:creationId xmlns:a16="http://schemas.microsoft.com/office/drawing/2014/main" id="{35239165-6409-77FF-3E34-63943C170752}"/>
                </a:ext>
              </a:extLst>
            </p:cNvPr>
            <p:cNvGrpSpPr/>
            <p:nvPr/>
          </p:nvGrpSpPr>
          <p:grpSpPr>
            <a:xfrm>
              <a:off x="4285606" y="691025"/>
              <a:ext cx="265960" cy="205427"/>
              <a:chOff x="1915391" y="1207791"/>
              <a:chExt cx="265960" cy="205427"/>
            </a:xfrm>
          </p:grpSpPr>
          <p:sp>
            <p:nvSpPr>
              <p:cNvPr id="574" name="Oval 573">
                <a:extLst>
                  <a:ext uri="{FF2B5EF4-FFF2-40B4-BE49-F238E27FC236}">
                    <a16:creationId xmlns:a16="http://schemas.microsoft.com/office/drawing/2014/main" id="{BD72620A-DE31-2F26-A6F2-9021AF6B6736}"/>
                  </a:ext>
                </a:extLst>
              </p:cNvPr>
              <p:cNvSpPr/>
              <p:nvPr/>
            </p:nvSpPr>
            <p:spPr>
              <a:xfrm>
                <a:off x="1939756" y="1207791"/>
                <a:ext cx="217231" cy="205427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550">
                  <a:solidFill>
                    <a:schemeClr val="tx1"/>
                  </a:solidFill>
                </a:endParaRPr>
              </a:p>
            </p:txBody>
          </p:sp>
          <p:sp>
            <p:nvSpPr>
              <p:cNvPr id="575" name="TextBox 574">
                <a:extLst>
                  <a:ext uri="{FF2B5EF4-FFF2-40B4-BE49-F238E27FC236}">
                    <a16:creationId xmlns:a16="http://schemas.microsoft.com/office/drawing/2014/main" id="{70BBB358-6654-093B-FE14-0ACA5075991E}"/>
                  </a:ext>
                </a:extLst>
              </p:cNvPr>
              <p:cNvSpPr txBox="1"/>
              <p:nvPr/>
            </p:nvSpPr>
            <p:spPr>
              <a:xfrm>
                <a:off x="1915391" y="1217280"/>
                <a:ext cx="265960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IN" sz="600"/>
                  <a:t>A1</a:t>
                </a:r>
              </a:p>
            </p:txBody>
          </p:sp>
        </p:grp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815BA35B-DDC3-0243-71C4-7473FEEAE0D5}"/>
              </a:ext>
            </a:extLst>
          </p:cNvPr>
          <p:cNvGrpSpPr/>
          <p:nvPr/>
        </p:nvGrpSpPr>
        <p:grpSpPr>
          <a:xfrm>
            <a:off x="4313070" y="1698411"/>
            <a:ext cx="1478573" cy="333469"/>
            <a:chOff x="4277796" y="1188936"/>
            <a:chExt cx="1478573" cy="333469"/>
          </a:xfrm>
        </p:grpSpPr>
        <p:sp>
          <p:nvSpPr>
            <p:cNvPr id="266" name="Rectangle 265">
              <a:extLst>
                <a:ext uri="{FF2B5EF4-FFF2-40B4-BE49-F238E27FC236}">
                  <a16:creationId xmlns:a16="http://schemas.microsoft.com/office/drawing/2014/main" id="{4B85D65B-F0BB-BC2C-7F56-6DF48FD6FB98}"/>
                </a:ext>
              </a:extLst>
            </p:cNvPr>
            <p:cNvSpPr/>
            <p:nvPr/>
          </p:nvSpPr>
          <p:spPr>
            <a:xfrm>
              <a:off x="4418586" y="1188936"/>
              <a:ext cx="1337783" cy="33346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42900">
                <a:defRPr/>
              </a:pPr>
              <a:r>
                <a:rPr lang="en-US" sz="750">
                  <a:solidFill>
                    <a:schemeClr val="tx1"/>
                  </a:solidFill>
                  <a:latin typeface="Calibri" panose="020F0502020204030204"/>
                </a:rPr>
                <a:t>Model Summary, Performance, Trends, Demographics, Statistics, etc.</a:t>
              </a:r>
            </a:p>
          </p:txBody>
        </p: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B72C8155-065A-3C5E-688D-F870852BBC3F}"/>
                </a:ext>
              </a:extLst>
            </p:cNvPr>
            <p:cNvGrpSpPr/>
            <p:nvPr/>
          </p:nvGrpSpPr>
          <p:grpSpPr>
            <a:xfrm>
              <a:off x="4277796" y="1260215"/>
              <a:ext cx="265960" cy="205427"/>
              <a:chOff x="1915391" y="1207791"/>
              <a:chExt cx="265960" cy="205427"/>
            </a:xfrm>
          </p:grpSpPr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7A94AF1F-A4C4-6200-61D9-256A462AC6EC}"/>
                  </a:ext>
                </a:extLst>
              </p:cNvPr>
              <p:cNvSpPr/>
              <p:nvPr/>
            </p:nvSpPr>
            <p:spPr>
              <a:xfrm>
                <a:off x="1939756" y="1207791"/>
                <a:ext cx="217231" cy="205427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550">
                  <a:solidFill>
                    <a:schemeClr val="tx1"/>
                  </a:solidFill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86DD8763-DF3F-E433-0FA2-E46E5878E24E}"/>
                  </a:ext>
                </a:extLst>
              </p:cNvPr>
              <p:cNvSpPr txBox="1"/>
              <p:nvPr/>
            </p:nvSpPr>
            <p:spPr>
              <a:xfrm>
                <a:off x="1915391" y="1217280"/>
                <a:ext cx="265960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IN" sz="600"/>
                  <a:t>A3</a:t>
                </a:r>
              </a:p>
            </p:txBody>
          </p:sp>
        </p:grp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4325ACBB-780D-2BF8-C92E-2B052BA7DB1A}"/>
              </a:ext>
            </a:extLst>
          </p:cNvPr>
          <p:cNvGrpSpPr/>
          <p:nvPr/>
        </p:nvGrpSpPr>
        <p:grpSpPr>
          <a:xfrm>
            <a:off x="2611143" y="2590470"/>
            <a:ext cx="265960" cy="205427"/>
            <a:chOff x="1915391" y="1207791"/>
            <a:chExt cx="265960" cy="205427"/>
          </a:xfrm>
        </p:grpSpPr>
        <p:sp>
          <p:nvSpPr>
            <p:cNvPr id="147" name="Oval 146">
              <a:extLst>
                <a:ext uri="{FF2B5EF4-FFF2-40B4-BE49-F238E27FC236}">
                  <a16:creationId xmlns:a16="http://schemas.microsoft.com/office/drawing/2014/main" id="{EF5181D2-2C96-44F5-65A0-02397B9E36F7}"/>
                </a:ext>
              </a:extLst>
            </p:cNvPr>
            <p:cNvSpPr/>
            <p:nvPr/>
          </p:nvSpPr>
          <p:spPr>
            <a:xfrm>
              <a:off x="1939756" y="1207791"/>
              <a:ext cx="217231" cy="205427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550">
                <a:solidFill>
                  <a:schemeClr val="tx1"/>
                </a:solidFill>
              </a:endParaRPr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F1DC0B39-42D7-67A3-91EF-85D47FCEDCA4}"/>
                </a:ext>
              </a:extLst>
            </p:cNvPr>
            <p:cNvSpPr txBox="1"/>
            <p:nvPr/>
          </p:nvSpPr>
          <p:spPr>
            <a:xfrm>
              <a:off x="1915391" y="1217280"/>
              <a:ext cx="265960" cy="18466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600"/>
                <a:t>B</a:t>
              </a:r>
            </a:p>
          </p:txBody>
        </p:sp>
      </p:grp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EDBC9902-39B8-5B94-F886-98AF5B2675EC}"/>
              </a:ext>
            </a:extLst>
          </p:cNvPr>
          <p:cNvGrpSpPr/>
          <p:nvPr/>
        </p:nvGrpSpPr>
        <p:grpSpPr>
          <a:xfrm>
            <a:off x="7796718" y="3115936"/>
            <a:ext cx="265960" cy="205427"/>
            <a:chOff x="1915391" y="1207791"/>
            <a:chExt cx="265960" cy="205427"/>
          </a:xfrm>
        </p:grpSpPr>
        <p:sp>
          <p:nvSpPr>
            <p:cNvPr id="151" name="Oval 150">
              <a:extLst>
                <a:ext uri="{FF2B5EF4-FFF2-40B4-BE49-F238E27FC236}">
                  <a16:creationId xmlns:a16="http://schemas.microsoft.com/office/drawing/2014/main" id="{70479C6C-91FE-D0B5-DBD2-16826E757A09}"/>
                </a:ext>
              </a:extLst>
            </p:cNvPr>
            <p:cNvSpPr/>
            <p:nvPr/>
          </p:nvSpPr>
          <p:spPr>
            <a:xfrm>
              <a:off x="1939756" y="1207791"/>
              <a:ext cx="217231" cy="205427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550">
                <a:solidFill>
                  <a:schemeClr val="tx1"/>
                </a:solidFill>
              </a:endParaRPr>
            </a:p>
          </p:txBody>
        </p:sp>
        <p:sp>
          <p:nvSpPr>
            <p:cNvPr id="154" name="TextBox 153">
              <a:extLst>
                <a:ext uri="{FF2B5EF4-FFF2-40B4-BE49-F238E27FC236}">
                  <a16:creationId xmlns:a16="http://schemas.microsoft.com/office/drawing/2014/main" id="{43A4E7AD-3ABE-BB78-455D-F2F18EC14D7A}"/>
                </a:ext>
              </a:extLst>
            </p:cNvPr>
            <p:cNvSpPr txBox="1"/>
            <p:nvPr/>
          </p:nvSpPr>
          <p:spPr>
            <a:xfrm>
              <a:off x="1915391" y="1217280"/>
              <a:ext cx="265960" cy="18466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600"/>
                <a:t>Z</a:t>
              </a:r>
            </a:p>
          </p:txBody>
        </p:sp>
      </p:grp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B0E1F454-8937-BAEC-B1C6-556E41B848BF}"/>
              </a:ext>
            </a:extLst>
          </p:cNvPr>
          <p:cNvGrpSpPr/>
          <p:nvPr/>
        </p:nvGrpSpPr>
        <p:grpSpPr>
          <a:xfrm>
            <a:off x="6498837" y="2603354"/>
            <a:ext cx="1159396" cy="211382"/>
            <a:chOff x="6451398" y="2933833"/>
            <a:chExt cx="1159396" cy="211382"/>
          </a:xfrm>
        </p:grpSpPr>
        <p:sp>
          <p:nvSpPr>
            <p:cNvPr id="412" name="Rectangle 411">
              <a:extLst>
                <a:ext uri="{FF2B5EF4-FFF2-40B4-BE49-F238E27FC236}">
                  <a16:creationId xmlns:a16="http://schemas.microsoft.com/office/drawing/2014/main" id="{C8FA372F-9669-7C1F-94E3-E0D4BD63FD93}"/>
                </a:ext>
              </a:extLst>
            </p:cNvPr>
            <p:cNvSpPr/>
            <p:nvPr/>
          </p:nvSpPr>
          <p:spPr>
            <a:xfrm>
              <a:off x="6583075" y="2933833"/>
              <a:ext cx="1027719" cy="211382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42900">
                <a:defRPr/>
              </a:pPr>
              <a:r>
                <a:rPr lang="en-US" sz="750" b="1">
                  <a:solidFill>
                    <a:schemeClr val="bg1"/>
                  </a:solidFill>
                  <a:latin typeface="Calibri" panose="020F0502020204030204"/>
                </a:rPr>
                <a:t>ETL Processing</a:t>
              </a:r>
            </a:p>
          </p:txBody>
        </p: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id="{5836CF1F-B05A-7E53-845E-1CA84AD5AAE2}"/>
                </a:ext>
              </a:extLst>
            </p:cNvPr>
            <p:cNvGrpSpPr/>
            <p:nvPr/>
          </p:nvGrpSpPr>
          <p:grpSpPr>
            <a:xfrm>
              <a:off x="6451398" y="2935335"/>
              <a:ext cx="265960" cy="205427"/>
              <a:chOff x="1915391" y="1207791"/>
              <a:chExt cx="265960" cy="205427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4907324D-1B6C-C2F7-E2AF-2CEBAD5D5BE4}"/>
                  </a:ext>
                </a:extLst>
              </p:cNvPr>
              <p:cNvSpPr/>
              <p:nvPr/>
            </p:nvSpPr>
            <p:spPr>
              <a:xfrm>
                <a:off x="1939756" y="1207791"/>
                <a:ext cx="217231" cy="20542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55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TextBox 159">
                <a:extLst>
                  <a:ext uri="{FF2B5EF4-FFF2-40B4-BE49-F238E27FC236}">
                    <a16:creationId xmlns:a16="http://schemas.microsoft.com/office/drawing/2014/main" id="{1E3DAEDA-8E12-1FE3-6D8F-1C8A2C9E888A}"/>
                  </a:ext>
                </a:extLst>
              </p:cNvPr>
              <p:cNvSpPr txBox="1"/>
              <p:nvPr/>
            </p:nvSpPr>
            <p:spPr>
              <a:xfrm>
                <a:off x="1915391" y="1217280"/>
                <a:ext cx="265960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IN" sz="600"/>
                  <a:t>B2</a:t>
                </a:r>
              </a:p>
            </p:txBody>
          </p:sp>
        </p:grpSp>
      </p:grpSp>
      <p:grpSp>
        <p:nvGrpSpPr>
          <p:cNvPr id="167" name="Group 166">
            <a:extLst>
              <a:ext uri="{FF2B5EF4-FFF2-40B4-BE49-F238E27FC236}">
                <a16:creationId xmlns:a16="http://schemas.microsoft.com/office/drawing/2014/main" id="{CFCA0747-D94E-C39D-BA92-E2F4DB18F8B6}"/>
              </a:ext>
            </a:extLst>
          </p:cNvPr>
          <p:cNvGrpSpPr/>
          <p:nvPr/>
        </p:nvGrpSpPr>
        <p:grpSpPr>
          <a:xfrm>
            <a:off x="4283411" y="2959647"/>
            <a:ext cx="1803778" cy="328576"/>
            <a:chOff x="4277796" y="2886325"/>
            <a:chExt cx="1803778" cy="328576"/>
          </a:xfrm>
        </p:grpSpPr>
        <p:sp>
          <p:nvSpPr>
            <p:cNvPr id="370" name="Rectangle 369">
              <a:extLst>
                <a:ext uri="{FF2B5EF4-FFF2-40B4-BE49-F238E27FC236}">
                  <a16:creationId xmlns:a16="http://schemas.microsoft.com/office/drawing/2014/main" id="{103601ED-0698-37C1-F318-00AC78F56008}"/>
                </a:ext>
              </a:extLst>
            </p:cNvPr>
            <p:cNvSpPr/>
            <p:nvPr/>
          </p:nvSpPr>
          <p:spPr>
            <a:xfrm>
              <a:off x="4422399" y="2886325"/>
              <a:ext cx="1659175" cy="32857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42900">
                <a:defRPr/>
              </a:pPr>
              <a:r>
                <a:rPr lang="en-US" sz="750">
                  <a:solidFill>
                    <a:schemeClr val="tx1"/>
                  </a:solidFill>
                  <a:latin typeface="Calibri" panose="020F0502020204030204"/>
                </a:rPr>
                <a:t>User Inputs Threshold for Correlation values &amp; ANOVA Scores, Feature transformations, model parameters</a:t>
              </a:r>
            </a:p>
          </p:txBody>
        </p:sp>
        <p:grpSp>
          <p:nvGrpSpPr>
            <p:cNvPr id="164" name="Group 163">
              <a:extLst>
                <a:ext uri="{FF2B5EF4-FFF2-40B4-BE49-F238E27FC236}">
                  <a16:creationId xmlns:a16="http://schemas.microsoft.com/office/drawing/2014/main" id="{DF5830C0-462A-0506-0C5F-2AC3166EFE54}"/>
                </a:ext>
              </a:extLst>
            </p:cNvPr>
            <p:cNvGrpSpPr/>
            <p:nvPr/>
          </p:nvGrpSpPr>
          <p:grpSpPr>
            <a:xfrm>
              <a:off x="4277796" y="2945164"/>
              <a:ext cx="265960" cy="205427"/>
              <a:chOff x="1915391" y="1207791"/>
              <a:chExt cx="265960" cy="205427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4BCC0157-A1EE-EF75-9092-3608D4CE864F}"/>
                  </a:ext>
                </a:extLst>
              </p:cNvPr>
              <p:cNvSpPr/>
              <p:nvPr/>
            </p:nvSpPr>
            <p:spPr>
              <a:xfrm>
                <a:off x="1939756" y="1207791"/>
                <a:ext cx="217231" cy="205427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55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TextBox 165">
                <a:extLst>
                  <a:ext uri="{FF2B5EF4-FFF2-40B4-BE49-F238E27FC236}">
                    <a16:creationId xmlns:a16="http://schemas.microsoft.com/office/drawing/2014/main" id="{694CB6FF-FB4B-6448-26CF-7378F1FBDF3A}"/>
                  </a:ext>
                </a:extLst>
              </p:cNvPr>
              <p:cNvSpPr txBox="1"/>
              <p:nvPr/>
            </p:nvSpPr>
            <p:spPr>
              <a:xfrm>
                <a:off x="1915391" y="1217280"/>
                <a:ext cx="265960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IN" sz="600"/>
                  <a:t>C1</a:t>
                </a:r>
              </a:p>
            </p:txBody>
          </p:sp>
        </p:grpSp>
      </p:grpSp>
      <p:grpSp>
        <p:nvGrpSpPr>
          <p:cNvPr id="168" name="Group 167">
            <a:extLst>
              <a:ext uri="{FF2B5EF4-FFF2-40B4-BE49-F238E27FC236}">
                <a16:creationId xmlns:a16="http://schemas.microsoft.com/office/drawing/2014/main" id="{6A781BFE-62A4-F8BB-A241-D57797873851}"/>
              </a:ext>
            </a:extLst>
          </p:cNvPr>
          <p:cNvGrpSpPr/>
          <p:nvPr/>
        </p:nvGrpSpPr>
        <p:grpSpPr>
          <a:xfrm>
            <a:off x="2610454" y="3367218"/>
            <a:ext cx="265960" cy="205427"/>
            <a:chOff x="1915391" y="1207791"/>
            <a:chExt cx="265960" cy="205427"/>
          </a:xfrm>
        </p:grpSpPr>
        <p:sp>
          <p:nvSpPr>
            <p:cNvPr id="169" name="Oval 168">
              <a:extLst>
                <a:ext uri="{FF2B5EF4-FFF2-40B4-BE49-F238E27FC236}">
                  <a16:creationId xmlns:a16="http://schemas.microsoft.com/office/drawing/2014/main" id="{E460D7F6-CBCD-4DA1-CA8D-D80C6D83898A}"/>
                </a:ext>
              </a:extLst>
            </p:cNvPr>
            <p:cNvSpPr/>
            <p:nvPr/>
          </p:nvSpPr>
          <p:spPr>
            <a:xfrm>
              <a:off x="1939756" y="1207791"/>
              <a:ext cx="217231" cy="205427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550">
                <a:solidFill>
                  <a:schemeClr val="tx1"/>
                </a:solidFill>
              </a:endParaRPr>
            </a:p>
          </p:txBody>
        </p:sp>
        <p:sp>
          <p:nvSpPr>
            <p:cNvPr id="170" name="TextBox 169">
              <a:extLst>
                <a:ext uri="{FF2B5EF4-FFF2-40B4-BE49-F238E27FC236}">
                  <a16:creationId xmlns:a16="http://schemas.microsoft.com/office/drawing/2014/main" id="{B184BB6C-5515-09AF-7956-E2436A3C06DE}"/>
                </a:ext>
              </a:extLst>
            </p:cNvPr>
            <p:cNvSpPr txBox="1"/>
            <p:nvPr/>
          </p:nvSpPr>
          <p:spPr>
            <a:xfrm>
              <a:off x="1915391" y="1217280"/>
              <a:ext cx="265960" cy="18466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600"/>
                <a:t>C</a:t>
              </a:r>
            </a:p>
          </p:txBody>
        </p:sp>
      </p:grpSp>
      <p:grpSp>
        <p:nvGrpSpPr>
          <p:cNvPr id="174" name="Group 173">
            <a:extLst>
              <a:ext uri="{FF2B5EF4-FFF2-40B4-BE49-F238E27FC236}">
                <a16:creationId xmlns:a16="http://schemas.microsoft.com/office/drawing/2014/main" id="{13F458F2-9599-386C-91C3-5A36E0815BCA}"/>
              </a:ext>
            </a:extLst>
          </p:cNvPr>
          <p:cNvGrpSpPr/>
          <p:nvPr/>
        </p:nvGrpSpPr>
        <p:grpSpPr>
          <a:xfrm>
            <a:off x="4295225" y="3375925"/>
            <a:ext cx="1645402" cy="231194"/>
            <a:chOff x="4261602" y="3369658"/>
            <a:chExt cx="1645402" cy="231194"/>
          </a:xfrm>
        </p:grpSpPr>
        <p:sp>
          <p:nvSpPr>
            <p:cNvPr id="417" name="Rectangle 416">
              <a:extLst>
                <a:ext uri="{FF2B5EF4-FFF2-40B4-BE49-F238E27FC236}">
                  <a16:creationId xmlns:a16="http://schemas.microsoft.com/office/drawing/2014/main" id="{3A4E7562-B505-67BD-34D9-73606295CEA3}"/>
                </a:ext>
              </a:extLst>
            </p:cNvPr>
            <p:cNvSpPr/>
            <p:nvPr/>
          </p:nvSpPr>
          <p:spPr>
            <a:xfrm>
              <a:off x="4402256" y="3369658"/>
              <a:ext cx="1504748" cy="23119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42900">
                <a:defRPr/>
              </a:pPr>
              <a:r>
                <a:rPr lang="en-US" sz="750">
                  <a:solidFill>
                    <a:schemeClr val="tx1"/>
                  </a:solidFill>
                  <a:latin typeface="Calibri" panose="020F0502020204030204"/>
                </a:rPr>
                <a:t>Model Summary, Performance, Avg. Metrics Value</a:t>
              </a:r>
            </a:p>
          </p:txBody>
        </p:sp>
        <p:grpSp>
          <p:nvGrpSpPr>
            <p:cNvPr id="171" name="Group 170">
              <a:extLst>
                <a:ext uri="{FF2B5EF4-FFF2-40B4-BE49-F238E27FC236}">
                  <a16:creationId xmlns:a16="http://schemas.microsoft.com/office/drawing/2014/main" id="{8D4AFDAB-D14C-C788-CBFB-D444E01A4C8A}"/>
                </a:ext>
              </a:extLst>
            </p:cNvPr>
            <p:cNvGrpSpPr/>
            <p:nvPr/>
          </p:nvGrpSpPr>
          <p:grpSpPr>
            <a:xfrm>
              <a:off x="4261602" y="3384787"/>
              <a:ext cx="276509" cy="205427"/>
              <a:chOff x="1910361" y="1207791"/>
              <a:chExt cx="276509" cy="205427"/>
            </a:xfrm>
          </p:grpSpPr>
          <p:sp>
            <p:nvSpPr>
              <p:cNvPr id="172" name="Oval 171">
                <a:extLst>
                  <a:ext uri="{FF2B5EF4-FFF2-40B4-BE49-F238E27FC236}">
                    <a16:creationId xmlns:a16="http://schemas.microsoft.com/office/drawing/2014/main" id="{FD4A32C8-1A46-947B-46ED-1DFAD6B94394}"/>
                  </a:ext>
                </a:extLst>
              </p:cNvPr>
              <p:cNvSpPr/>
              <p:nvPr/>
            </p:nvSpPr>
            <p:spPr>
              <a:xfrm>
                <a:off x="1939756" y="1207791"/>
                <a:ext cx="217231" cy="205427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550">
                  <a:solidFill>
                    <a:schemeClr val="tx1"/>
                  </a:solidFill>
                </a:endParaRPr>
              </a:p>
            </p:txBody>
          </p:sp>
          <p:sp>
            <p:nvSpPr>
              <p:cNvPr id="173" name="TextBox 172">
                <a:extLst>
                  <a:ext uri="{FF2B5EF4-FFF2-40B4-BE49-F238E27FC236}">
                    <a16:creationId xmlns:a16="http://schemas.microsoft.com/office/drawing/2014/main" id="{95138F87-6682-2156-393E-AD796634E4E3}"/>
                  </a:ext>
                </a:extLst>
              </p:cNvPr>
              <p:cNvSpPr txBox="1"/>
              <p:nvPr/>
            </p:nvSpPr>
            <p:spPr>
              <a:xfrm>
                <a:off x="1910361" y="1217280"/>
                <a:ext cx="276509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IN" sz="600"/>
                  <a:t>C3</a:t>
                </a:r>
              </a:p>
            </p:txBody>
          </p:sp>
        </p:grpSp>
      </p:grpSp>
      <p:grpSp>
        <p:nvGrpSpPr>
          <p:cNvPr id="559" name="Group 558">
            <a:extLst>
              <a:ext uri="{FF2B5EF4-FFF2-40B4-BE49-F238E27FC236}">
                <a16:creationId xmlns:a16="http://schemas.microsoft.com/office/drawing/2014/main" id="{BF25F583-C3E6-9C55-0E87-5FA2AC6DC424}"/>
              </a:ext>
            </a:extLst>
          </p:cNvPr>
          <p:cNvGrpSpPr/>
          <p:nvPr/>
        </p:nvGrpSpPr>
        <p:grpSpPr>
          <a:xfrm>
            <a:off x="6471595" y="4002293"/>
            <a:ext cx="1180250" cy="205427"/>
            <a:chOff x="6436321" y="3784091"/>
            <a:chExt cx="1180250" cy="205427"/>
          </a:xfrm>
        </p:grpSpPr>
        <p:sp>
          <p:nvSpPr>
            <p:cNvPr id="424" name="Rectangle 423">
              <a:extLst>
                <a:ext uri="{FF2B5EF4-FFF2-40B4-BE49-F238E27FC236}">
                  <a16:creationId xmlns:a16="http://schemas.microsoft.com/office/drawing/2014/main" id="{E4727C73-0F0D-3B1E-511E-04939B7D99FA}"/>
                </a:ext>
              </a:extLst>
            </p:cNvPr>
            <p:cNvSpPr/>
            <p:nvPr/>
          </p:nvSpPr>
          <p:spPr>
            <a:xfrm>
              <a:off x="6588852" y="3833961"/>
              <a:ext cx="1027719" cy="143844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42900">
                <a:defRPr/>
              </a:pPr>
              <a:r>
                <a:rPr lang="en-US" sz="750" b="1">
                  <a:solidFill>
                    <a:schemeClr val="bg1"/>
                  </a:solidFill>
                  <a:latin typeface="Calibri" panose="020F0502020204030204"/>
                </a:rPr>
                <a:t>Scores input dataset</a:t>
              </a:r>
            </a:p>
          </p:txBody>
        </p:sp>
        <p:grpSp>
          <p:nvGrpSpPr>
            <p:cNvPr id="175" name="Group 174">
              <a:extLst>
                <a:ext uri="{FF2B5EF4-FFF2-40B4-BE49-F238E27FC236}">
                  <a16:creationId xmlns:a16="http://schemas.microsoft.com/office/drawing/2014/main" id="{08A68EA3-8E45-EAD2-71C9-8A2066C2E720}"/>
                </a:ext>
              </a:extLst>
            </p:cNvPr>
            <p:cNvGrpSpPr/>
            <p:nvPr/>
          </p:nvGrpSpPr>
          <p:grpSpPr>
            <a:xfrm>
              <a:off x="6436321" y="3784091"/>
              <a:ext cx="282636" cy="205427"/>
              <a:chOff x="1909181" y="1207791"/>
              <a:chExt cx="282636" cy="205427"/>
            </a:xfrm>
          </p:grpSpPr>
          <p:sp>
            <p:nvSpPr>
              <p:cNvPr id="176" name="Oval 175">
                <a:extLst>
                  <a:ext uri="{FF2B5EF4-FFF2-40B4-BE49-F238E27FC236}">
                    <a16:creationId xmlns:a16="http://schemas.microsoft.com/office/drawing/2014/main" id="{EB83AA17-B86F-4FC5-3C9C-2DEF3EAAFDDE}"/>
                  </a:ext>
                </a:extLst>
              </p:cNvPr>
              <p:cNvSpPr/>
              <p:nvPr/>
            </p:nvSpPr>
            <p:spPr>
              <a:xfrm>
                <a:off x="1939756" y="1207791"/>
                <a:ext cx="217231" cy="205427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550">
                  <a:solidFill>
                    <a:schemeClr val="tx1"/>
                  </a:solidFill>
                </a:endParaRPr>
              </a:p>
            </p:txBody>
          </p:sp>
          <p:sp>
            <p:nvSpPr>
              <p:cNvPr id="177" name="TextBox 176">
                <a:extLst>
                  <a:ext uri="{FF2B5EF4-FFF2-40B4-BE49-F238E27FC236}">
                    <a16:creationId xmlns:a16="http://schemas.microsoft.com/office/drawing/2014/main" id="{64898F89-25ED-37E3-5AD0-D7E25E3098CE}"/>
                  </a:ext>
                </a:extLst>
              </p:cNvPr>
              <p:cNvSpPr txBox="1"/>
              <p:nvPr/>
            </p:nvSpPr>
            <p:spPr>
              <a:xfrm>
                <a:off x="1909181" y="1217280"/>
                <a:ext cx="282636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IN" sz="600"/>
                  <a:t>D2</a:t>
                </a:r>
              </a:p>
            </p:txBody>
          </p:sp>
        </p:grpSp>
      </p:grpSp>
      <p:grpSp>
        <p:nvGrpSpPr>
          <p:cNvPr id="208" name="Group 207">
            <a:extLst>
              <a:ext uri="{FF2B5EF4-FFF2-40B4-BE49-F238E27FC236}">
                <a16:creationId xmlns:a16="http://schemas.microsoft.com/office/drawing/2014/main" id="{D1977F2E-0B4C-C169-A0B9-158CE72D0203}"/>
              </a:ext>
            </a:extLst>
          </p:cNvPr>
          <p:cNvGrpSpPr/>
          <p:nvPr/>
        </p:nvGrpSpPr>
        <p:grpSpPr>
          <a:xfrm>
            <a:off x="4331789" y="4584297"/>
            <a:ext cx="1105985" cy="236454"/>
            <a:chOff x="4296515" y="4366095"/>
            <a:chExt cx="1105985" cy="236454"/>
          </a:xfrm>
        </p:grpSpPr>
        <p:sp>
          <p:nvSpPr>
            <p:cNvPr id="536" name="Rectangle 535">
              <a:extLst>
                <a:ext uri="{FF2B5EF4-FFF2-40B4-BE49-F238E27FC236}">
                  <a16:creationId xmlns:a16="http://schemas.microsoft.com/office/drawing/2014/main" id="{FA1B7D08-2F5E-9BED-6CF1-19785E068D52}"/>
                </a:ext>
              </a:extLst>
            </p:cNvPr>
            <p:cNvSpPr/>
            <p:nvPr/>
          </p:nvSpPr>
          <p:spPr>
            <a:xfrm>
              <a:off x="4443455" y="4366095"/>
              <a:ext cx="959045" cy="23645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42900">
                <a:defRPr/>
              </a:pPr>
              <a:r>
                <a:rPr lang="en-US" sz="750">
                  <a:solidFill>
                    <a:schemeClr val="tx1"/>
                  </a:solidFill>
                  <a:latin typeface="Calibri" panose="020F0502020204030204"/>
                </a:rPr>
                <a:t>Add models for </a:t>
              </a:r>
            </a:p>
            <a:p>
              <a:pPr algn="ctr" defTabSz="342900">
                <a:defRPr/>
              </a:pPr>
              <a:r>
                <a:rPr lang="en-US" sz="750" i="1">
                  <a:solidFill>
                    <a:schemeClr val="tx1"/>
                  </a:solidFill>
                  <a:latin typeface="Calibri" panose="020F0502020204030204"/>
                </a:rPr>
                <a:t>Regular Predictions</a:t>
              </a:r>
            </a:p>
          </p:txBody>
        </p:sp>
        <p:grpSp>
          <p:nvGrpSpPr>
            <p:cNvPr id="201" name="Group 200">
              <a:extLst>
                <a:ext uri="{FF2B5EF4-FFF2-40B4-BE49-F238E27FC236}">
                  <a16:creationId xmlns:a16="http://schemas.microsoft.com/office/drawing/2014/main" id="{04FB1B47-6E4E-62F1-29F8-3552785FBB19}"/>
                </a:ext>
              </a:extLst>
            </p:cNvPr>
            <p:cNvGrpSpPr/>
            <p:nvPr/>
          </p:nvGrpSpPr>
          <p:grpSpPr>
            <a:xfrm>
              <a:off x="4296515" y="4381303"/>
              <a:ext cx="265960" cy="205427"/>
              <a:chOff x="1915391" y="1207791"/>
              <a:chExt cx="265960" cy="205427"/>
            </a:xfrm>
          </p:grpSpPr>
          <p:sp>
            <p:nvSpPr>
              <p:cNvPr id="202" name="Oval 201">
                <a:extLst>
                  <a:ext uri="{FF2B5EF4-FFF2-40B4-BE49-F238E27FC236}">
                    <a16:creationId xmlns:a16="http://schemas.microsoft.com/office/drawing/2014/main" id="{227B2F16-1027-9EBE-8F76-51A9C0198154}"/>
                  </a:ext>
                </a:extLst>
              </p:cNvPr>
              <p:cNvSpPr/>
              <p:nvPr/>
            </p:nvSpPr>
            <p:spPr>
              <a:xfrm>
                <a:off x="1939756" y="1207791"/>
                <a:ext cx="217231" cy="205427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550">
                  <a:solidFill>
                    <a:schemeClr val="tx1"/>
                  </a:solidFill>
                </a:endParaRPr>
              </a:p>
            </p:txBody>
          </p:sp>
          <p:sp>
            <p:nvSpPr>
              <p:cNvPr id="203" name="TextBox 202">
                <a:extLst>
                  <a:ext uri="{FF2B5EF4-FFF2-40B4-BE49-F238E27FC236}">
                    <a16:creationId xmlns:a16="http://schemas.microsoft.com/office/drawing/2014/main" id="{6C5592DE-BE12-EF7D-BAC7-453277ED9B99}"/>
                  </a:ext>
                </a:extLst>
              </p:cNvPr>
              <p:cNvSpPr txBox="1"/>
              <p:nvPr/>
            </p:nvSpPr>
            <p:spPr>
              <a:xfrm>
                <a:off x="1915391" y="1217280"/>
                <a:ext cx="265960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IN" sz="600"/>
                  <a:t>E1</a:t>
                </a:r>
              </a:p>
            </p:txBody>
          </p:sp>
        </p:grpSp>
      </p:grpSp>
      <p:grpSp>
        <p:nvGrpSpPr>
          <p:cNvPr id="204" name="Group 203">
            <a:extLst>
              <a:ext uri="{FF2B5EF4-FFF2-40B4-BE49-F238E27FC236}">
                <a16:creationId xmlns:a16="http://schemas.microsoft.com/office/drawing/2014/main" id="{0851282B-8C36-6052-AB44-EA1791823E66}"/>
              </a:ext>
            </a:extLst>
          </p:cNvPr>
          <p:cNvGrpSpPr/>
          <p:nvPr/>
        </p:nvGrpSpPr>
        <p:grpSpPr>
          <a:xfrm>
            <a:off x="2607608" y="4611711"/>
            <a:ext cx="265960" cy="205427"/>
            <a:chOff x="1915391" y="1207791"/>
            <a:chExt cx="265960" cy="205427"/>
          </a:xfrm>
        </p:grpSpPr>
        <p:sp>
          <p:nvSpPr>
            <p:cNvPr id="205" name="Oval 204">
              <a:extLst>
                <a:ext uri="{FF2B5EF4-FFF2-40B4-BE49-F238E27FC236}">
                  <a16:creationId xmlns:a16="http://schemas.microsoft.com/office/drawing/2014/main" id="{F416A2FC-7932-B1F5-DB77-97747F8037B0}"/>
                </a:ext>
              </a:extLst>
            </p:cNvPr>
            <p:cNvSpPr/>
            <p:nvPr/>
          </p:nvSpPr>
          <p:spPr>
            <a:xfrm>
              <a:off x="1939756" y="1207791"/>
              <a:ext cx="217231" cy="205427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550">
                <a:solidFill>
                  <a:schemeClr val="tx1"/>
                </a:solidFill>
              </a:endParaRPr>
            </a:p>
          </p:txBody>
        </p:sp>
        <p:sp>
          <p:nvSpPr>
            <p:cNvPr id="206" name="TextBox 205">
              <a:extLst>
                <a:ext uri="{FF2B5EF4-FFF2-40B4-BE49-F238E27FC236}">
                  <a16:creationId xmlns:a16="http://schemas.microsoft.com/office/drawing/2014/main" id="{52D6D55E-CED0-F8DF-688D-5C032E76AEB0}"/>
                </a:ext>
              </a:extLst>
            </p:cNvPr>
            <p:cNvSpPr txBox="1"/>
            <p:nvPr/>
          </p:nvSpPr>
          <p:spPr>
            <a:xfrm>
              <a:off x="1915391" y="1217280"/>
              <a:ext cx="265960" cy="18466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600"/>
                <a:t>E</a:t>
              </a:r>
            </a:p>
          </p:txBody>
        </p:sp>
      </p:grpSp>
      <p:grpSp>
        <p:nvGrpSpPr>
          <p:cNvPr id="561" name="Group 560">
            <a:extLst>
              <a:ext uri="{FF2B5EF4-FFF2-40B4-BE49-F238E27FC236}">
                <a16:creationId xmlns:a16="http://schemas.microsoft.com/office/drawing/2014/main" id="{6F0EBE99-A1F2-B6A3-A395-66F584C5A1A8}"/>
              </a:ext>
            </a:extLst>
          </p:cNvPr>
          <p:cNvGrpSpPr/>
          <p:nvPr/>
        </p:nvGrpSpPr>
        <p:grpSpPr>
          <a:xfrm>
            <a:off x="8046583" y="1011049"/>
            <a:ext cx="702736" cy="1328150"/>
            <a:chOff x="8229860" y="2344510"/>
            <a:chExt cx="702736" cy="1328150"/>
          </a:xfrm>
        </p:grpSpPr>
        <p:grpSp>
          <p:nvGrpSpPr>
            <p:cNvPr id="662" name="Group 661">
              <a:extLst>
                <a:ext uri="{FF2B5EF4-FFF2-40B4-BE49-F238E27FC236}">
                  <a16:creationId xmlns:a16="http://schemas.microsoft.com/office/drawing/2014/main" id="{6EE5A9B1-4589-242D-F094-137DC4A81DBA}"/>
                </a:ext>
              </a:extLst>
            </p:cNvPr>
            <p:cNvGrpSpPr/>
            <p:nvPr/>
          </p:nvGrpSpPr>
          <p:grpSpPr>
            <a:xfrm>
              <a:off x="8229860" y="2344510"/>
              <a:ext cx="702736" cy="1328150"/>
              <a:chOff x="10779416" y="2871561"/>
              <a:chExt cx="1003805" cy="1770867"/>
            </a:xfrm>
          </p:grpSpPr>
          <p:sp>
            <p:nvSpPr>
              <p:cNvPr id="661" name="Rectangle 660">
                <a:extLst>
                  <a:ext uri="{FF2B5EF4-FFF2-40B4-BE49-F238E27FC236}">
                    <a16:creationId xmlns:a16="http://schemas.microsoft.com/office/drawing/2014/main" id="{A4D2CF2E-5D49-422E-4919-909EE88DFDB7}"/>
                  </a:ext>
                </a:extLst>
              </p:cNvPr>
              <p:cNvSpPr/>
              <p:nvPr/>
            </p:nvSpPr>
            <p:spPr>
              <a:xfrm>
                <a:off x="10779416" y="2871561"/>
                <a:ext cx="1003805" cy="1770867"/>
              </a:xfrm>
              <a:prstGeom prst="rect">
                <a:avLst/>
              </a:prstGeom>
              <a:noFill/>
              <a:ln w="28575" cap="flat" cmpd="sng" algn="ctr">
                <a:solidFill>
                  <a:srgbClr val="FEBE10"/>
                </a:solidFill>
                <a:prstDash val="solid"/>
              </a:ln>
              <a:effectLst/>
            </p:spPr>
            <p:txBody>
              <a:bodyPr rtlCol="0" anchor="t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342900">
                  <a:defRPr/>
                </a:pPr>
                <a:r>
                  <a:rPr lang="en-US" sz="750" b="1">
                    <a:solidFill>
                      <a:schemeClr val="tx1"/>
                    </a:solidFill>
                    <a:latin typeface="Calibri" panose="020F0502020204030204"/>
                  </a:rPr>
                  <a:t>Data Sources</a:t>
                </a:r>
              </a:p>
            </p:txBody>
          </p:sp>
          <p:sp>
            <p:nvSpPr>
              <p:cNvPr id="647" name="Flowchart: Magnetic Disk 646">
                <a:extLst>
                  <a:ext uri="{FF2B5EF4-FFF2-40B4-BE49-F238E27FC236}">
                    <a16:creationId xmlns:a16="http://schemas.microsoft.com/office/drawing/2014/main" id="{E8BD62A3-36AE-CAED-C2D3-02B290393329}"/>
                  </a:ext>
                </a:extLst>
              </p:cNvPr>
              <p:cNvSpPr/>
              <p:nvPr/>
            </p:nvSpPr>
            <p:spPr>
              <a:xfrm>
                <a:off x="10926499" y="4080220"/>
                <a:ext cx="725302" cy="462413"/>
              </a:xfrm>
              <a:prstGeom prst="flowChartMagneticDisk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IN" sz="1200">
                    <a:solidFill>
                      <a:schemeClr val="tx1"/>
                    </a:solidFill>
                  </a:rPr>
                  <a:t>ADR</a:t>
                </a:r>
              </a:p>
            </p:txBody>
          </p:sp>
          <p:pic>
            <p:nvPicPr>
              <p:cNvPr id="649" name="Picture 648" descr="Logo, company name&#10;&#10;Description automatically generated">
                <a:extLst>
                  <a:ext uri="{FF2B5EF4-FFF2-40B4-BE49-F238E27FC236}">
                    <a16:creationId xmlns:a16="http://schemas.microsoft.com/office/drawing/2014/main" id="{AB487604-30AB-0B91-A055-8CFBF0A2A76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39041" b="36885"/>
              <a:stretch/>
            </p:blipFill>
            <p:spPr>
              <a:xfrm>
                <a:off x="10825544" y="3338375"/>
                <a:ext cx="911547" cy="219442"/>
              </a:xfrm>
              <a:prstGeom prst="rect">
                <a:avLst/>
              </a:prstGeom>
            </p:spPr>
          </p:pic>
        </p:grpSp>
        <p:sp>
          <p:nvSpPr>
            <p:cNvPr id="225" name="Rectangle 224">
              <a:extLst>
                <a:ext uri="{FF2B5EF4-FFF2-40B4-BE49-F238E27FC236}">
                  <a16:creationId xmlns:a16="http://schemas.microsoft.com/office/drawing/2014/main" id="{75C26DC4-3C24-1DD1-0426-7420C98E169D}"/>
                </a:ext>
              </a:extLst>
            </p:cNvPr>
            <p:cNvSpPr/>
            <p:nvPr/>
          </p:nvSpPr>
          <p:spPr>
            <a:xfrm>
              <a:off x="8332829" y="2904297"/>
              <a:ext cx="507764" cy="271861"/>
            </a:xfrm>
            <a:prstGeom prst="rect">
              <a:avLst/>
            </a:prstGeom>
            <a:solidFill>
              <a:srgbClr val="FEBE1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42900">
                <a:defRPr/>
              </a:pPr>
              <a:r>
                <a:rPr lang="en-US" sz="800" b="1">
                  <a:solidFill>
                    <a:schemeClr val="tx1"/>
                  </a:solidFill>
                  <a:latin typeface="Calibri" panose="020F0502020204030204"/>
                </a:rPr>
                <a:t>AWS S3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9D42FB8C-7585-1F8A-5FF4-40584E7E6621}"/>
              </a:ext>
            </a:extLst>
          </p:cNvPr>
          <p:cNvGrpSpPr/>
          <p:nvPr/>
        </p:nvGrpSpPr>
        <p:grpSpPr>
          <a:xfrm>
            <a:off x="6482081" y="1752463"/>
            <a:ext cx="894944" cy="211382"/>
            <a:chOff x="6451398" y="2933833"/>
            <a:chExt cx="894944" cy="211382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C6AB9E0-9DEF-BDE2-C02D-38B55EAFF378}"/>
                </a:ext>
              </a:extLst>
            </p:cNvPr>
            <p:cNvSpPr/>
            <p:nvPr/>
          </p:nvSpPr>
          <p:spPr>
            <a:xfrm>
              <a:off x="6583075" y="2933833"/>
              <a:ext cx="763267" cy="211382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42900">
                <a:defRPr/>
              </a:pPr>
              <a:r>
                <a:rPr lang="en-US" sz="750" b="1">
                  <a:solidFill>
                    <a:schemeClr val="bg1"/>
                  </a:solidFill>
                  <a:latin typeface="Calibri" panose="020F0502020204030204"/>
                </a:rPr>
                <a:t>Fetch Filtered Data</a:t>
              </a: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8C69F78A-337B-304C-D720-D996AC4858A1}"/>
                </a:ext>
              </a:extLst>
            </p:cNvPr>
            <p:cNvGrpSpPr/>
            <p:nvPr/>
          </p:nvGrpSpPr>
          <p:grpSpPr>
            <a:xfrm>
              <a:off x="6451398" y="2935335"/>
              <a:ext cx="265960" cy="205427"/>
              <a:chOff x="1915391" y="1207791"/>
              <a:chExt cx="265960" cy="205427"/>
            </a:xfrm>
          </p:grpSpPr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E9699EF9-BECB-27AD-54F9-DAEE65520002}"/>
                  </a:ext>
                </a:extLst>
              </p:cNvPr>
              <p:cNvSpPr/>
              <p:nvPr/>
            </p:nvSpPr>
            <p:spPr>
              <a:xfrm>
                <a:off x="1939756" y="1207791"/>
                <a:ext cx="217231" cy="20542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550">
                  <a:solidFill>
                    <a:schemeClr val="tx1"/>
                  </a:solidFill>
                </a:endParaRP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79600D77-4592-5076-EE07-098BA0FA8DFF}"/>
                  </a:ext>
                </a:extLst>
              </p:cNvPr>
              <p:cNvSpPr txBox="1"/>
              <p:nvPr/>
            </p:nvSpPr>
            <p:spPr>
              <a:xfrm>
                <a:off x="1915391" y="1217280"/>
                <a:ext cx="265960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IN" sz="600"/>
                  <a:t>A2</a:t>
                </a:r>
              </a:p>
            </p:txBody>
          </p:sp>
        </p:grp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10A8C68D-DE15-5116-CE3A-252C0CD02FF5}"/>
              </a:ext>
            </a:extLst>
          </p:cNvPr>
          <p:cNvGrpSpPr/>
          <p:nvPr/>
        </p:nvGrpSpPr>
        <p:grpSpPr>
          <a:xfrm>
            <a:off x="6477847" y="3094068"/>
            <a:ext cx="1165589" cy="205427"/>
            <a:chOff x="6441757" y="3834862"/>
            <a:chExt cx="1165589" cy="205427"/>
          </a:xfrm>
        </p:grpSpPr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57423B77-FE8A-4FFC-2051-0C4101BEE438}"/>
                </a:ext>
              </a:extLst>
            </p:cNvPr>
            <p:cNvSpPr/>
            <p:nvPr/>
          </p:nvSpPr>
          <p:spPr>
            <a:xfrm>
              <a:off x="6579627" y="3860720"/>
              <a:ext cx="1027719" cy="143844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42900">
                <a:defRPr/>
              </a:pPr>
              <a:r>
                <a:rPr lang="en-US" sz="750" b="1">
                  <a:solidFill>
                    <a:schemeClr val="bg1"/>
                  </a:solidFill>
                  <a:latin typeface="Calibri" panose="020F0502020204030204"/>
                </a:rPr>
                <a:t>Model Training</a:t>
              </a:r>
            </a:p>
          </p:txBody>
        </p:sp>
        <p:grpSp>
          <p:nvGrpSpPr>
            <p:cNvPr id="104" name="Group 103">
              <a:extLst>
                <a:ext uri="{FF2B5EF4-FFF2-40B4-BE49-F238E27FC236}">
                  <a16:creationId xmlns:a16="http://schemas.microsoft.com/office/drawing/2014/main" id="{817A74B9-A33B-158E-19EB-25153F4C0221}"/>
                </a:ext>
              </a:extLst>
            </p:cNvPr>
            <p:cNvGrpSpPr/>
            <p:nvPr/>
          </p:nvGrpSpPr>
          <p:grpSpPr>
            <a:xfrm>
              <a:off x="6441757" y="3834862"/>
              <a:ext cx="282636" cy="205427"/>
              <a:chOff x="1909181" y="1207791"/>
              <a:chExt cx="282636" cy="205427"/>
            </a:xfrm>
          </p:grpSpPr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59C80961-8BCA-B814-455B-B736582DB229}"/>
                  </a:ext>
                </a:extLst>
              </p:cNvPr>
              <p:cNvSpPr/>
              <p:nvPr/>
            </p:nvSpPr>
            <p:spPr>
              <a:xfrm>
                <a:off x="1939756" y="1207791"/>
                <a:ext cx="217231" cy="205427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550">
                  <a:solidFill>
                    <a:schemeClr val="tx1"/>
                  </a:solidFill>
                </a:endParaRPr>
              </a:p>
            </p:txBody>
          </p:sp>
          <p:sp>
            <p:nvSpPr>
              <p:cNvPr id="106" name="TextBox 105">
                <a:extLst>
                  <a:ext uri="{FF2B5EF4-FFF2-40B4-BE49-F238E27FC236}">
                    <a16:creationId xmlns:a16="http://schemas.microsoft.com/office/drawing/2014/main" id="{964EE0F2-ED8D-13C2-8AE3-871DCA3A85E5}"/>
                  </a:ext>
                </a:extLst>
              </p:cNvPr>
              <p:cNvSpPr txBox="1"/>
              <p:nvPr/>
            </p:nvSpPr>
            <p:spPr>
              <a:xfrm>
                <a:off x="1909181" y="1217280"/>
                <a:ext cx="282636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IN" sz="600"/>
                  <a:t>C2</a:t>
                </a:r>
              </a:p>
            </p:txBody>
          </p:sp>
        </p:grpSp>
      </p:grpSp>
      <p:cxnSp>
        <p:nvCxnSpPr>
          <p:cNvPr id="375" name="Connector: Elbow 374">
            <a:extLst>
              <a:ext uri="{FF2B5EF4-FFF2-40B4-BE49-F238E27FC236}">
                <a16:creationId xmlns:a16="http://schemas.microsoft.com/office/drawing/2014/main" id="{A3B9B7E6-44CE-B94B-1322-3179661BF8DB}"/>
              </a:ext>
            </a:extLst>
          </p:cNvPr>
          <p:cNvCxnSpPr>
            <a:cxnSpLocks/>
            <a:stCxn id="160" idx="1"/>
            <a:endCxn id="63" idx="3"/>
          </p:cNvCxnSpPr>
          <p:nvPr/>
        </p:nvCxnSpPr>
        <p:spPr>
          <a:xfrm rot="10800000">
            <a:off x="3847653" y="2704610"/>
            <a:ext cx="2651184" cy="2069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1" name="Group 90">
            <a:extLst>
              <a:ext uri="{FF2B5EF4-FFF2-40B4-BE49-F238E27FC236}">
                <a16:creationId xmlns:a16="http://schemas.microsoft.com/office/drawing/2014/main" id="{D53CF476-BB01-7BF9-C832-DD05DFE7BCEA}"/>
              </a:ext>
            </a:extLst>
          </p:cNvPr>
          <p:cNvGrpSpPr/>
          <p:nvPr/>
        </p:nvGrpSpPr>
        <p:grpSpPr>
          <a:xfrm>
            <a:off x="4281766" y="2559155"/>
            <a:ext cx="1646024" cy="269941"/>
            <a:chOff x="4277796" y="2911741"/>
            <a:chExt cx="1646024" cy="269941"/>
          </a:xfrm>
        </p:grpSpPr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21E8ABB6-D4FD-B65B-7F2B-0D7B48AE00B5}"/>
                </a:ext>
              </a:extLst>
            </p:cNvPr>
            <p:cNvSpPr/>
            <p:nvPr/>
          </p:nvSpPr>
          <p:spPr>
            <a:xfrm>
              <a:off x="4422399" y="2911741"/>
              <a:ext cx="1501421" cy="269941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42900">
                <a:defRPr/>
              </a:pPr>
              <a:r>
                <a:rPr lang="en-US" sz="750">
                  <a:solidFill>
                    <a:schemeClr val="tx1"/>
                  </a:solidFill>
                  <a:latin typeface="Calibri" panose="020F0502020204030204"/>
                </a:rPr>
                <a:t>Transformed dataset,</a:t>
              </a:r>
            </a:p>
            <a:p>
              <a:pPr algn="ctr" defTabSz="342900">
                <a:defRPr/>
              </a:pPr>
              <a:r>
                <a:rPr lang="en-US" sz="750">
                  <a:solidFill>
                    <a:schemeClr val="tx1"/>
                  </a:solidFill>
                  <a:latin typeface="Calibri" panose="020F0502020204030204"/>
                </a:rPr>
                <a:t>Updated C360</a:t>
              </a:r>
            </a:p>
          </p:txBody>
        </p: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9303A1EB-8858-D8ED-12FB-E768C67786F3}"/>
                </a:ext>
              </a:extLst>
            </p:cNvPr>
            <p:cNvGrpSpPr/>
            <p:nvPr/>
          </p:nvGrpSpPr>
          <p:grpSpPr>
            <a:xfrm>
              <a:off x="4277796" y="2945164"/>
              <a:ext cx="265960" cy="205427"/>
              <a:chOff x="1915391" y="1207791"/>
              <a:chExt cx="265960" cy="205427"/>
            </a:xfrm>
          </p:grpSpPr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33B770EC-2CAA-94B3-E9DF-B6706109E1A5}"/>
                  </a:ext>
                </a:extLst>
              </p:cNvPr>
              <p:cNvSpPr/>
              <p:nvPr/>
            </p:nvSpPr>
            <p:spPr>
              <a:xfrm>
                <a:off x="1939756" y="1207791"/>
                <a:ext cx="217231" cy="205427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550">
                  <a:solidFill>
                    <a:schemeClr val="tx1"/>
                  </a:solidFill>
                </a:endParaRPr>
              </a:p>
            </p:txBody>
          </p:sp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00818C32-90A2-5909-4531-F3C4030B6799}"/>
                  </a:ext>
                </a:extLst>
              </p:cNvPr>
              <p:cNvSpPr txBox="1"/>
              <p:nvPr/>
            </p:nvSpPr>
            <p:spPr>
              <a:xfrm>
                <a:off x="1915391" y="1217280"/>
                <a:ext cx="265960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IN" sz="600"/>
                  <a:t>B3</a:t>
                </a:r>
              </a:p>
            </p:txBody>
          </p:sp>
        </p:grpSp>
      </p:grpSp>
      <p:cxnSp>
        <p:nvCxnSpPr>
          <p:cNvPr id="112" name="Connector: Elbow 111">
            <a:extLst>
              <a:ext uri="{FF2B5EF4-FFF2-40B4-BE49-F238E27FC236}">
                <a16:creationId xmlns:a16="http://schemas.microsoft.com/office/drawing/2014/main" id="{A82E02FB-AB6E-2693-FF37-414C4DF066CA}"/>
              </a:ext>
            </a:extLst>
          </p:cNvPr>
          <p:cNvCxnSpPr>
            <a:cxnSpLocks/>
            <a:stCxn id="154" idx="0"/>
            <a:endCxn id="103" idx="0"/>
          </p:cNvCxnSpPr>
          <p:nvPr/>
        </p:nvCxnSpPr>
        <p:spPr>
          <a:xfrm rot="16200000" flipV="1">
            <a:off x="7526889" y="2722615"/>
            <a:ext cx="5499" cy="800121"/>
          </a:xfrm>
          <a:prstGeom prst="bentConnector3">
            <a:avLst>
              <a:gd name="adj1" fmla="val 4257119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4" name="Rectangle 513">
            <a:extLst>
              <a:ext uri="{FF2B5EF4-FFF2-40B4-BE49-F238E27FC236}">
                <a16:creationId xmlns:a16="http://schemas.microsoft.com/office/drawing/2014/main" id="{D5DF5F30-F100-AC02-5318-E85031309012}"/>
              </a:ext>
            </a:extLst>
          </p:cNvPr>
          <p:cNvSpPr/>
          <p:nvPr/>
        </p:nvSpPr>
        <p:spPr>
          <a:xfrm>
            <a:off x="3132081" y="3944610"/>
            <a:ext cx="748163" cy="333469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7000"/>
              </a:lnSpc>
              <a:spcAft>
                <a:spcPts val="600"/>
              </a:spcAft>
            </a:pPr>
            <a:r>
              <a:rPr lang="en-IN" sz="750" b="1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coring</a:t>
            </a:r>
            <a:endParaRPr lang="en-US" altLang="en-US" sz="75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cxnSp>
        <p:nvCxnSpPr>
          <p:cNvPr id="518" name="Connector: Elbow 517">
            <a:extLst>
              <a:ext uri="{FF2B5EF4-FFF2-40B4-BE49-F238E27FC236}">
                <a16:creationId xmlns:a16="http://schemas.microsoft.com/office/drawing/2014/main" id="{3D0E405F-D466-4776-BAE2-58866E7F3298}"/>
              </a:ext>
            </a:extLst>
          </p:cNvPr>
          <p:cNvCxnSpPr>
            <a:cxnSpLocks/>
            <a:stCxn id="22" idx="3"/>
            <a:endCxn id="514" idx="1"/>
          </p:cNvCxnSpPr>
          <p:nvPr/>
        </p:nvCxnSpPr>
        <p:spPr>
          <a:xfrm>
            <a:off x="2137928" y="2951299"/>
            <a:ext cx="994153" cy="116004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5" name="Group 514">
            <a:extLst>
              <a:ext uri="{FF2B5EF4-FFF2-40B4-BE49-F238E27FC236}">
                <a16:creationId xmlns:a16="http://schemas.microsoft.com/office/drawing/2014/main" id="{CA415A24-13E1-907C-F4C2-8834139688DE}"/>
              </a:ext>
            </a:extLst>
          </p:cNvPr>
          <p:cNvGrpSpPr/>
          <p:nvPr/>
        </p:nvGrpSpPr>
        <p:grpSpPr>
          <a:xfrm>
            <a:off x="2606535" y="4008631"/>
            <a:ext cx="265960" cy="205427"/>
            <a:chOff x="1915391" y="1207791"/>
            <a:chExt cx="265960" cy="205427"/>
          </a:xfrm>
        </p:grpSpPr>
        <p:sp>
          <p:nvSpPr>
            <p:cNvPr id="516" name="Oval 515">
              <a:extLst>
                <a:ext uri="{FF2B5EF4-FFF2-40B4-BE49-F238E27FC236}">
                  <a16:creationId xmlns:a16="http://schemas.microsoft.com/office/drawing/2014/main" id="{2AC96ACF-39F9-D797-F279-390F782ECB74}"/>
                </a:ext>
              </a:extLst>
            </p:cNvPr>
            <p:cNvSpPr/>
            <p:nvPr/>
          </p:nvSpPr>
          <p:spPr>
            <a:xfrm>
              <a:off x="1939756" y="1207791"/>
              <a:ext cx="217231" cy="205427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550">
                <a:solidFill>
                  <a:schemeClr val="tx1"/>
                </a:solidFill>
              </a:endParaRPr>
            </a:p>
          </p:txBody>
        </p:sp>
        <p:sp>
          <p:nvSpPr>
            <p:cNvPr id="517" name="TextBox 516">
              <a:extLst>
                <a:ext uri="{FF2B5EF4-FFF2-40B4-BE49-F238E27FC236}">
                  <a16:creationId xmlns:a16="http://schemas.microsoft.com/office/drawing/2014/main" id="{9EA3CE4B-9AC1-C7BA-E7F0-5C09C9E5DA5F}"/>
                </a:ext>
              </a:extLst>
            </p:cNvPr>
            <p:cNvSpPr txBox="1"/>
            <p:nvPr/>
          </p:nvSpPr>
          <p:spPr>
            <a:xfrm>
              <a:off x="1915391" y="1217280"/>
              <a:ext cx="265960" cy="18466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600"/>
                <a:t>D</a:t>
              </a:r>
            </a:p>
          </p:txBody>
        </p:sp>
      </p:grpSp>
      <p:cxnSp>
        <p:nvCxnSpPr>
          <p:cNvPr id="521" name="Connector: Elbow 520">
            <a:extLst>
              <a:ext uri="{FF2B5EF4-FFF2-40B4-BE49-F238E27FC236}">
                <a16:creationId xmlns:a16="http://schemas.microsoft.com/office/drawing/2014/main" id="{CCFBBB40-AA4B-B24E-91E4-49D42E3DC696}"/>
              </a:ext>
            </a:extLst>
          </p:cNvPr>
          <p:cNvCxnSpPr>
            <a:cxnSpLocks/>
            <a:stCxn id="514" idx="3"/>
            <a:endCxn id="177" idx="1"/>
          </p:cNvCxnSpPr>
          <p:nvPr/>
        </p:nvCxnSpPr>
        <p:spPr>
          <a:xfrm flipV="1">
            <a:off x="3880244" y="4104115"/>
            <a:ext cx="2591351" cy="723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5" name="Group 524">
            <a:extLst>
              <a:ext uri="{FF2B5EF4-FFF2-40B4-BE49-F238E27FC236}">
                <a16:creationId xmlns:a16="http://schemas.microsoft.com/office/drawing/2014/main" id="{02DAFB80-B2AF-A619-E4BF-3AFF64BFA983}"/>
              </a:ext>
            </a:extLst>
          </p:cNvPr>
          <p:cNvGrpSpPr/>
          <p:nvPr/>
        </p:nvGrpSpPr>
        <p:grpSpPr>
          <a:xfrm>
            <a:off x="4295225" y="3996654"/>
            <a:ext cx="1757456" cy="229381"/>
            <a:chOff x="4285605" y="680677"/>
            <a:chExt cx="1757456" cy="229381"/>
          </a:xfrm>
        </p:grpSpPr>
        <p:sp>
          <p:nvSpPr>
            <p:cNvPr id="526" name="Rectangle 525">
              <a:extLst>
                <a:ext uri="{FF2B5EF4-FFF2-40B4-BE49-F238E27FC236}">
                  <a16:creationId xmlns:a16="http://schemas.microsoft.com/office/drawing/2014/main" id="{252AF4DF-7C2C-84F9-F74A-90D7BC2B62F1}"/>
                </a:ext>
              </a:extLst>
            </p:cNvPr>
            <p:cNvSpPr/>
            <p:nvPr/>
          </p:nvSpPr>
          <p:spPr>
            <a:xfrm>
              <a:off x="4453417" y="680677"/>
              <a:ext cx="1589644" cy="229381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42900">
                <a:defRPr/>
              </a:pPr>
              <a:r>
                <a:rPr lang="en-US" sz="750">
                  <a:solidFill>
                    <a:schemeClr val="tx1"/>
                  </a:solidFill>
                  <a:latin typeface="Calibri" panose="020F0502020204030204"/>
                </a:rPr>
                <a:t>User Inputs – Model, Input Features, Dataset</a:t>
              </a:r>
            </a:p>
          </p:txBody>
        </p:sp>
        <p:grpSp>
          <p:nvGrpSpPr>
            <p:cNvPr id="527" name="Group 526">
              <a:extLst>
                <a:ext uri="{FF2B5EF4-FFF2-40B4-BE49-F238E27FC236}">
                  <a16:creationId xmlns:a16="http://schemas.microsoft.com/office/drawing/2014/main" id="{3CC43E0B-73B1-F612-9E5E-938318E0E485}"/>
                </a:ext>
              </a:extLst>
            </p:cNvPr>
            <p:cNvGrpSpPr/>
            <p:nvPr/>
          </p:nvGrpSpPr>
          <p:grpSpPr>
            <a:xfrm>
              <a:off x="4285605" y="691025"/>
              <a:ext cx="287131" cy="205427"/>
              <a:chOff x="1915390" y="1207791"/>
              <a:chExt cx="287131" cy="205427"/>
            </a:xfrm>
          </p:grpSpPr>
          <p:sp>
            <p:nvSpPr>
              <p:cNvPr id="528" name="Oval 527">
                <a:extLst>
                  <a:ext uri="{FF2B5EF4-FFF2-40B4-BE49-F238E27FC236}">
                    <a16:creationId xmlns:a16="http://schemas.microsoft.com/office/drawing/2014/main" id="{A0BAEA7D-DB31-902A-9F15-44BAF0799EEF}"/>
                  </a:ext>
                </a:extLst>
              </p:cNvPr>
              <p:cNvSpPr/>
              <p:nvPr/>
            </p:nvSpPr>
            <p:spPr>
              <a:xfrm>
                <a:off x="1939756" y="1207791"/>
                <a:ext cx="217231" cy="205427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550">
                  <a:solidFill>
                    <a:schemeClr val="tx1"/>
                  </a:solidFill>
                </a:endParaRPr>
              </a:p>
            </p:txBody>
          </p:sp>
          <p:sp>
            <p:nvSpPr>
              <p:cNvPr id="530" name="TextBox 529">
                <a:extLst>
                  <a:ext uri="{FF2B5EF4-FFF2-40B4-BE49-F238E27FC236}">
                    <a16:creationId xmlns:a16="http://schemas.microsoft.com/office/drawing/2014/main" id="{23198F84-FC48-7B11-8656-4799D3B2660B}"/>
                  </a:ext>
                </a:extLst>
              </p:cNvPr>
              <p:cNvSpPr txBox="1"/>
              <p:nvPr/>
            </p:nvSpPr>
            <p:spPr>
              <a:xfrm>
                <a:off x="1915390" y="1217280"/>
                <a:ext cx="287131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IN" sz="600"/>
                  <a:t>D1</a:t>
                </a:r>
              </a:p>
            </p:txBody>
          </p:sp>
        </p:grpSp>
      </p:grpSp>
      <p:cxnSp>
        <p:nvCxnSpPr>
          <p:cNvPr id="539" name="Connector: Elbow 538">
            <a:extLst>
              <a:ext uri="{FF2B5EF4-FFF2-40B4-BE49-F238E27FC236}">
                <a16:creationId xmlns:a16="http://schemas.microsoft.com/office/drawing/2014/main" id="{17593311-1FBE-C00C-E003-3D1ABB65D511}"/>
              </a:ext>
            </a:extLst>
          </p:cNvPr>
          <p:cNvCxnSpPr>
            <a:cxnSpLocks/>
            <a:stCxn id="176" idx="4"/>
            <a:endCxn id="514" idx="2"/>
          </p:cNvCxnSpPr>
          <p:nvPr/>
        </p:nvCxnSpPr>
        <p:spPr>
          <a:xfrm rot="5400000">
            <a:off x="5023296" y="2690588"/>
            <a:ext cx="70359" cy="3104623"/>
          </a:xfrm>
          <a:prstGeom prst="bentConnector3">
            <a:avLst>
              <a:gd name="adj1" fmla="val 284113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7" name="Group 186">
            <a:extLst>
              <a:ext uri="{FF2B5EF4-FFF2-40B4-BE49-F238E27FC236}">
                <a16:creationId xmlns:a16="http://schemas.microsoft.com/office/drawing/2014/main" id="{07516443-9F27-2136-A5DA-807FC76F7DA3}"/>
              </a:ext>
            </a:extLst>
          </p:cNvPr>
          <p:cNvGrpSpPr/>
          <p:nvPr/>
        </p:nvGrpSpPr>
        <p:grpSpPr>
          <a:xfrm>
            <a:off x="4266609" y="4287735"/>
            <a:ext cx="1148241" cy="205427"/>
            <a:chOff x="4269489" y="3810031"/>
            <a:chExt cx="1148241" cy="205427"/>
          </a:xfrm>
        </p:grpSpPr>
        <p:sp>
          <p:nvSpPr>
            <p:cNvPr id="529" name="Rectangle 528">
              <a:extLst>
                <a:ext uri="{FF2B5EF4-FFF2-40B4-BE49-F238E27FC236}">
                  <a16:creationId xmlns:a16="http://schemas.microsoft.com/office/drawing/2014/main" id="{3A7AC399-BD25-039F-C140-018CC216DACA}"/>
                </a:ext>
              </a:extLst>
            </p:cNvPr>
            <p:cNvSpPr/>
            <p:nvPr/>
          </p:nvSpPr>
          <p:spPr>
            <a:xfrm>
              <a:off x="4458685" y="3815951"/>
              <a:ext cx="959045" cy="19404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42900">
                <a:defRPr/>
              </a:pPr>
              <a:r>
                <a:rPr lang="en-US" sz="750" i="1">
                  <a:solidFill>
                    <a:schemeClr val="tx1"/>
                  </a:solidFill>
                  <a:latin typeface="Calibri" panose="020F0502020204030204"/>
                </a:rPr>
                <a:t>Recommendations</a:t>
              </a:r>
            </a:p>
          </p:txBody>
        </p:sp>
        <p:grpSp>
          <p:nvGrpSpPr>
            <p:cNvPr id="184" name="Group 183">
              <a:extLst>
                <a:ext uri="{FF2B5EF4-FFF2-40B4-BE49-F238E27FC236}">
                  <a16:creationId xmlns:a16="http://schemas.microsoft.com/office/drawing/2014/main" id="{06C18DF7-7FDD-C033-7C2F-BDC9619F3C94}"/>
                </a:ext>
              </a:extLst>
            </p:cNvPr>
            <p:cNvGrpSpPr/>
            <p:nvPr/>
          </p:nvGrpSpPr>
          <p:grpSpPr>
            <a:xfrm>
              <a:off x="4269489" y="3810031"/>
              <a:ext cx="282636" cy="205427"/>
              <a:chOff x="1907699" y="1207791"/>
              <a:chExt cx="282636" cy="205427"/>
            </a:xfrm>
          </p:grpSpPr>
          <p:sp>
            <p:nvSpPr>
              <p:cNvPr id="185" name="Oval 184">
                <a:extLst>
                  <a:ext uri="{FF2B5EF4-FFF2-40B4-BE49-F238E27FC236}">
                    <a16:creationId xmlns:a16="http://schemas.microsoft.com/office/drawing/2014/main" id="{B7DC7CBC-4248-6316-B998-613C68F3910E}"/>
                  </a:ext>
                </a:extLst>
              </p:cNvPr>
              <p:cNvSpPr/>
              <p:nvPr/>
            </p:nvSpPr>
            <p:spPr>
              <a:xfrm>
                <a:off x="1939756" y="1207791"/>
                <a:ext cx="217231" cy="205427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550">
                  <a:solidFill>
                    <a:schemeClr val="tx1"/>
                  </a:solidFill>
                </a:endParaRPr>
              </a:p>
            </p:txBody>
          </p:sp>
          <p:sp>
            <p:nvSpPr>
              <p:cNvPr id="186" name="TextBox 185">
                <a:extLst>
                  <a:ext uri="{FF2B5EF4-FFF2-40B4-BE49-F238E27FC236}">
                    <a16:creationId xmlns:a16="http://schemas.microsoft.com/office/drawing/2014/main" id="{B6587D92-1D24-1B1D-FE9A-15AACAEC0CF0}"/>
                  </a:ext>
                </a:extLst>
              </p:cNvPr>
              <p:cNvSpPr txBox="1"/>
              <p:nvPr/>
            </p:nvSpPr>
            <p:spPr>
              <a:xfrm>
                <a:off x="1907699" y="1217280"/>
                <a:ext cx="282636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IN" sz="600"/>
                  <a:t>D3</a:t>
                </a:r>
              </a:p>
            </p:txBody>
          </p:sp>
        </p:grpSp>
      </p:grpSp>
      <p:cxnSp>
        <p:nvCxnSpPr>
          <p:cNvPr id="545" name="Connector: Elbow 544">
            <a:extLst>
              <a:ext uri="{FF2B5EF4-FFF2-40B4-BE49-F238E27FC236}">
                <a16:creationId xmlns:a16="http://schemas.microsoft.com/office/drawing/2014/main" id="{29B52A25-E0C3-3D0A-A624-D8F6C280F41D}"/>
              </a:ext>
            </a:extLst>
          </p:cNvPr>
          <p:cNvCxnSpPr>
            <a:cxnSpLocks/>
            <a:stCxn id="151" idx="0"/>
            <a:endCxn id="412" idx="3"/>
          </p:cNvCxnSpPr>
          <p:nvPr/>
        </p:nvCxnSpPr>
        <p:spPr>
          <a:xfrm rot="16200000" flipV="1">
            <a:off x="7590521" y="2776758"/>
            <a:ext cx="406891" cy="271466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8" name="Connector: Elbow 547">
            <a:extLst>
              <a:ext uri="{FF2B5EF4-FFF2-40B4-BE49-F238E27FC236}">
                <a16:creationId xmlns:a16="http://schemas.microsoft.com/office/drawing/2014/main" id="{63DD5ED3-6F92-4621-266B-692D8AEB3DCC}"/>
              </a:ext>
            </a:extLst>
          </p:cNvPr>
          <p:cNvCxnSpPr>
            <a:cxnSpLocks/>
            <a:endCxn id="424" idx="3"/>
          </p:cNvCxnSpPr>
          <p:nvPr/>
        </p:nvCxnSpPr>
        <p:spPr>
          <a:xfrm rot="5400000">
            <a:off x="7383777" y="3578159"/>
            <a:ext cx="813994" cy="277858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2" name="Arrow: Left-Up 561">
            <a:extLst>
              <a:ext uri="{FF2B5EF4-FFF2-40B4-BE49-F238E27FC236}">
                <a16:creationId xmlns:a16="http://schemas.microsoft.com/office/drawing/2014/main" id="{677ABF34-9041-C43C-5609-4432FB94ED4A}"/>
              </a:ext>
            </a:extLst>
          </p:cNvPr>
          <p:cNvSpPr/>
          <p:nvPr/>
        </p:nvSpPr>
        <p:spPr>
          <a:xfrm>
            <a:off x="7686675" y="2360004"/>
            <a:ext cx="771676" cy="1031049"/>
          </a:xfrm>
          <a:prstGeom prst="leftUpArrow">
            <a:avLst>
              <a:gd name="adj1" fmla="val 2112"/>
              <a:gd name="adj2" fmla="val 6333"/>
              <a:gd name="adj3" fmla="val 11660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800">
              <a:solidFill>
                <a:schemeClr val="tx1"/>
              </a:solidFill>
            </a:endParaRP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D29C384B-6D85-3E88-53CB-1D204F328585}"/>
              </a:ext>
            </a:extLst>
          </p:cNvPr>
          <p:cNvSpPr txBox="1"/>
          <p:nvPr/>
        </p:nvSpPr>
        <p:spPr>
          <a:xfrm>
            <a:off x="8049549" y="2562914"/>
            <a:ext cx="91965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 demand +</a:t>
            </a:r>
          </a:p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riodic Access</a:t>
            </a:r>
          </a:p>
        </p:txBody>
      </p: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FBB410CA-CB77-1D3E-C084-0F7C40F7ED5A}"/>
              </a:ext>
            </a:extLst>
          </p:cNvPr>
          <p:cNvCxnSpPr/>
          <p:nvPr/>
        </p:nvCxnSpPr>
        <p:spPr>
          <a:xfrm>
            <a:off x="6177516" y="563969"/>
            <a:ext cx="0" cy="4395668"/>
          </a:xfrm>
          <a:prstGeom prst="line">
            <a:avLst/>
          </a:prstGeom>
          <a:ln w="12700">
            <a:prstDash val="lg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79" name="Straight Connector 178">
            <a:extLst>
              <a:ext uri="{FF2B5EF4-FFF2-40B4-BE49-F238E27FC236}">
                <a16:creationId xmlns:a16="http://schemas.microsoft.com/office/drawing/2014/main" id="{C624C10E-EBDF-94AB-9FAB-4D69E75AAA18}"/>
              </a:ext>
            </a:extLst>
          </p:cNvPr>
          <p:cNvCxnSpPr/>
          <p:nvPr/>
        </p:nvCxnSpPr>
        <p:spPr>
          <a:xfrm>
            <a:off x="3948223" y="563969"/>
            <a:ext cx="0" cy="4395668"/>
          </a:xfrm>
          <a:prstGeom prst="line">
            <a:avLst/>
          </a:prstGeom>
          <a:ln w="12700">
            <a:prstDash val="lg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82" name="TextBox 181">
            <a:extLst>
              <a:ext uri="{FF2B5EF4-FFF2-40B4-BE49-F238E27FC236}">
                <a16:creationId xmlns:a16="http://schemas.microsoft.com/office/drawing/2014/main" id="{5E2C0EF7-0821-87AD-919E-D8F8B3CAE944}"/>
              </a:ext>
            </a:extLst>
          </p:cNvPr>
          <p:cNvSpPr txBox="1"/>
          <p:nvPr/>
        </p:nvSpPr>
        <p:spPr>
          <a:xfrm>
            <a:off x="93867" y="563968"/>
            <a:ext cx="38543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800"/>
              <a:t>Frontend for User Interaction</a:t>
            </a: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06A7F0B3-E31D-D74E-3E60-0BAD9768EFE0}"/>
              </a:ext>
            </a:extLst>
          </p:cNvPr>
          <p:cNvSpPr txBox="1"/>
          <p:nvPr/>
        </p:nvSpPr>
        <p:spPr>
          <a:xfrm>
            <a:off x="3966727" y="567442"/>
            <a:ext cx="21998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800"/>
              <a:t>Backend APIs</a:t>
            </a: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D854A399-D751-1CEB-2E60-3744DE162AA1}"/>
              </a:ext>
            </a:extLst>
          </p:cNvPr>
          <p:cNvSpPr txBox="1"/>
          <p:nvPr/>
        </p:nvSpPr>
        <p:spPr>
          <a:xfrm>
            <a:off x="6185110" y="560712"/>
            <a:ext cx="159653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800"/>
              <a:t>Processing Layer</a:t>
            </a: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1EEB078A-DCD1-4988-F2EC-E285FA9820DC}"/>
              </a:ext>
            </a:extLst>
          </p:cNvPr>
          <p:cNvSpPr txBox="1"/>
          <p:nvPr/>
        </p:nvSpPr>
        <p:spPr>
          <a:xfrm>
            <a:off x="7783318" y="563969"/>
            <a:ext cx="123685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800"/>
              <a:t>Source of Raw Datasets</a:t>
            </a:r>
          </a:p>
        </p:txBody>
      </p:sp>
    </p:spTree>
    <p:extLst>
      <p:ext uri="{BB962C8B-B14F-4D97-AF65-F5344CB8AC3E}">
        <p14:creationId xmlns:p14="http://schemas.microsoft.com/office/powerpoint/2010/main" val="31914304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DBC0258-F895-4E41-AE96-C8BD962A9D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0B62E8-4833-C84D-A86B-4CF3C4DE74F8}" type="slidenum">
              <a:rPr kumimoji="0" lang="uk-UA" sz="750" b="0" i="0" u="none" strike="noStrike" kern="1200" cap="none" spc="0" normalizeH="0" baseline="0" noProof="0" smtClean="0">
                <a:ln>
                  <a:noFill/>
                </a:ln>
                <a:solidFill>
                  <a:srgbClr val="003946"/>
                </a:solidFill>
                <a:effectLst/>
                <a:uLnTx/>
                <a:uFillTx/>
                <a:ea typeface="+mn-ea"/>
                <a:cs typeface="Calibri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uk-UA" sz="750" b="0" i="0" u="none" strike="noStrike" kern="1200" cap="none" spc="0" normalizeH="0" baseline="0" noProof="0">
              <a:ln>
                <a:noFill/>
              </a:ln>
              <a:solidFill>
                <a:srgbClr val="003946"/>
              </a:solidFill>
              <a:effectLst/>
              <a:uLnTx/>
              <a:uFillTx/>
              <a:ea typeface="+mn-ea"/>
              <a:cs typeface="Calibri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EED6AB6-42E1-4286-B3E1-A19472D324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668" y="0"/>
            <a:ext cx="6885797" cy="581025"/>
          </a:xfrm>
        </p:spPr>
        <p:txBody>
          <a:bodyPr/>
          <a:lstStyle/>
          <a:p>
            <a:r>
              <a:rPr lang="en-US" altLang="en-US"/>
              <a:t>System Diagram (Context)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D4B0062-0E5A-4745-B217-908F0306953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en-US"/>
              <a:t>C4 Model Diagram – Level 1 System Context</a:t>
            </a: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49AE5C5-72D4-4057-98BE-DB83DB28D0DE}"/>
              </a:ext>
            </a:extLst>
          </p:cNvPr>
          <p:cNvSpPr/>
          <p:nvPr/>
        </p:nvSpPr>
        <p:spPr>
          <a:xfrm>
            <a:off x="453935" y="4548986"/>
            <a:ext cx="369570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lor code diagram which parts are new changes vs. existing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540B6B2-6F6F-46C6-A040-DFDB63857AAB}"/>
              </a:ext>
            </a:extLst>
          </p:cNvPr>
          <p:cNvGrpSpPr/>
          <p:nvPr/>
        </p:nvGrpSpPr>
        <p:grpSpPr>
          <a:xfrm>
            <a:off x="3797858" y="4562475"/>
            <a:ext cx="2075514" cy="234416"/>
            <a:chOff x="3797858" y="4562475"/>
            <a:chExt cx="2075514" cy="234416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EB6F9BA-6CF0-49BE-80FB-75CFAC27D619}"/>
                </a:ext>
              </a:extLst>
            </p:cNvPr>
            <p:cNvSpPr/>
            <p:nvPr/>
          </p:nvSpPr>
          <p:spPr>
            <a:xfrm>
              <a:off x="3797858" y="4562475"/>
              <a:ext cx="502550" cy="233792"/>
            </a:xfrm>
            <a:prstGeom prst="rect">
              <a:avLst/>
            </a:prstGeom>
            <a:solidFill>
              <a:srgbClr val="FFCB05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o Change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A74B810-D050-4373-A6C8-F54808A63B22}"/>
                </a:ext>
              </a:extLst>
            </p:cNvPr>
            <p:cNvSpPr/>
            <p:nvPr/>
          </p:nvSpPr>
          <p:spPr>
            <a:xfrm>
              <a:off x="4320669" y="4562475"/>
              <a:ext cx="502550" cy="233792"/>
            </a:xfrm>
            <a:prstGeom prst="rect">
              <a:avLst/>
            </a:prstGeom>
            <a:solidFill>
              <a:srgbClr val="5B9BD5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ew 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1E5F1B9-C66D-41FC-B809-7B72878A81E6}"/>
                </a:ext>
              </a:extLst>
            </p:cNvPr>
            <p:cNvSpPr/>
            <p:nvPr/>
          </p:nvSpPr>
          <p:spPr>
            <a:xfrm>
              <a:off x="4843480" y="4562475"/>
              <a:ext cx="502550" cy="233792"/>
            </a:xfrm>
            <a:prstGeom prst="rect">
              <a:avLst/>
            </a:prstGeom>
            <a:solidFill>
              <a:srgbClr val="70AD47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hange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CC78AC05-3A98-4A7A-AC62-1882D9136F6B}"/>
                </a:ext>
              </a:extLst>
            </p:cNvPr>
            <p:cNvSpPr/>
            <p:nvPr/>
          </p:nvSpPr>
          <p:spPr>
            <a:xfrm>
              <a:off x="5370822" y="4563099"/>
              <a:ext cx="502550" cy="233792"/>
            </a:xfrm>
            <a:prstGeom prst="rect">
              <a:avLst/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ot In Scope</a:t>
              </a:r>
            </a:p>
          </p:txBody>
        </p:sp>
      </p:grpSp>
      <p:sp>
        <p:nvSpPr>
          <p:cNvPr id="4" name="Oval 3">
            <a:extLst>
              <a:ext uri="{FF2B5EF4-FFF2-40B4-BE49-F238E27FC236}">
                <a16:creationId xmlns:a16="http://schemas.microsoft.com/office/drawing/2014/main" id="{4BF962F1-8655-3135-C505-63EF76B4E1DD}"/>
              </a:ext>
            </a:extLst>
          </p:cNvPr>
          <p:cNvSpPr/>
          <p:nvPr/>
        </p:nvSpPr>
        <p:spPr>
          <a:xfrm>
            <a:off x="3663175" y="1618004"/>
            <a:ext cx="1829107" cy="1577591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/>
              <a:t>NBO Product</a:t>
            </a:r>
          </a:p>
          <a:p>
            <a:pPr algn="ctr"/>
            <a:endParaRPr lang="en-IN" i="1" u="sng"/>
          </a:p>
          <a:p>
            <a:pPr algn="ctr"/>
            <a:endParaRPr lang="en-IN"/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 ML Product with Web Application for Interaction</a:t>
            </a:r>
            <a:endParaRPr kumimoji="0" lang="en-IN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Flowchart: Process 23">
            <a:extLst>
              <a:ext uri="{FF2B5EF4-FFF2-40B4-BE49-F238E27FC236}">
                <a16:creationId xmlns:a16="http://schemas.microsoft.com/office/drawing/2014/main" id="{27DCC06E-7A43-D220-C451-E680C0B25A0F}"/>
              </a:ext>
            </a:extLst>
          </p:cNvPr>
          <p:cNvSpPr/>
          <p:nvPr/>
        </p:nvSpPr>
        <p:spPr>
          <a:xfrm>
            <a:off x="6164278" y="2069501"/>
            <a:ext cx="1676886" cy="674599"/>
          </a:xfrm>
          <a:prstGeom prst="flowChartProcess">
            <a:avLst/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/>
              <a:t>Performance Reports</a:t>
            </a:r>
          </a:p>
          <a:p>
            <a:pPr algn="ctr"/>
            <a:endParaRPr lang="en-IN" sz="1200"/>
          </a:p>
          <a:p>
            <a:pPr algn="ctr"/>
            <a:r>
              <a:rPr lang="en-IN" sz="800"/>
              <a:t>Product, &amp; Market</a:t>
            </a:r>
            <a:endParaRPr lang="en-IN" sz="1050"/>
          </a:p>
        </p:txBody>
      </p:sp>
      <p:sp>
        <p:nvSpPr>
          <p:cNvPr id="25" name="Flowchart: Process 24">
            <a:extLst>
              <a:ext uri="{FF2B5EF4-FFF2-40B4-BE49-F238E27FC236}">
                <a16:creationId xmlns:a16="http://schemas.microsoft.com/office/drawing/2014/main" id="{CE5FA971-7386-DA6B-D79E-A5888BAC3D55}"/>
              </a:ext>
            </a:extLst>
          </p:cNvPr>
          <p:cNvSpPr/>
          <p:nvPr/>
        </p:nvSpPr>
        <p:spPr>
          <a:xfrm>
            <a:off x="5580302" y="3306134"/>
            <a:ext cx="1507486" cy="674599"/>
          </a:xfrm>
          <a:prstGeom prst="flowChartProcess">
            <a:avLst/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/>
              <a:t>Recommendations</a:t>
            </a:r>
          </a:p>
          <a:p>
            <a:pPr algn="ctr"/>
            <a:endParaRPr lang="en-IN" sz="800"/>
          </a:p>
          <a:p>
            <a:pPr algn="ctr"/>
            <a:r>
              <a:rPr lang="en-IN" sz="800"/>
              <a:t>Data centric – Resell strategies</a:t>
            </a:r>
          </a:p>
        </p:txBody>
      </p:sp>
      <p:sp>
        <p:nvSpPr>
          <p:cNvPr id="26" name="Flowchart: Process 25">
            <a:extLst>
              <a:ext uri="{FF2B5EF4-FFF2-40B4-BE49-F238E27FC236}">
                <a16:creationId xmlns:a16="http://schemas.microsoft.com/office/drawing/2014/main" id="{5176A6E6-CDD0-0D5D-03F7-805019785ECE}"/>
              </a:ext>
            </a:extLst>
          </p:cNvPr>
          <p:cNvSpPr/>
          <p:nvPr/>
        </p:nvSpPr>
        <p:spPr>
          <a:xfrm>
            <a:off x="2289716" y="815053"/>
            <a:ext cx="1609635" cy="674599"/>
          </a:xfrm>
          <a:prstGeom prst="flowChartProcess">
            <a:avLst/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/>
              <a:t>Model Development</a:t>
            </a:r>
            <a:endParaRPr lang="en-IN" sz="700"/>
          </a:p>
          <a:p>
            <a:pPr algn="ctr"/>
            <a:endParaRPr lang="en-IN" sz="800"/>
          </a:p>
          <a:p>
            <a:pPr algn="ctr"/>
            <a:endParaRPr lang="en-IN" sz="800"/>
          </a:p>
          <a:p>
            <a:pPr algn="ctr"/>
            <a:r>
              <a:rPr lang="en-IN" sz="800"/>
              <a:t>Develop on top of existing model</a:t>
            </a:r>
          </a:p>
        </p:txBody>
      </p:sp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4EF92AAF-C2F0-CB9E-14CB-C4BEB25529A5}"/>
              </a:ext>
            </a:extLst>
          </p:cNvPr>
          <p:cNvCxnSpPr>
            <a:cxnSpLocks/>
            <a:stCxn id="4" idx="4"/>
            <a:endCxn id="25" idx="1"/>
          </p:cNvCxnSpPr>
          <p:nvPr/>
        </p:nvCxnSpPr>
        <p:spPr>
          <a:xfrm rot="16200000" flipH="1">
            <a:off x="4855096" y="2918227"/>
            <a:ext cx="447839" cy="1002573"/>
          </a:xfrm>
          <a:prstGeom prst="bentConnector2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7" name="Connector: Elbow 66">
            <a:extLst>
              <a:ext uri="{FF2B5EF4-FFF2-40B4-BE49-F238E27FC236}">
                <a16:creationId xmlns:a16="http://schemas.microsoft.com/office/drawing/2014/main" id="{37B9BB15-34DA-5AE2-F520-5B51BCA0EC2A}"/>
              </a:ext>
            </a:extLst>
          </p:cNvPr>
          <p:cNvCxnSpPr>
            <a:cxnSpLocks/>
            <a:stCxn id="4" idx="0"/>
            <a:endCxn id="26" idx="3"/>
          </p:cNvCxnSpPr>
          <p:nvPr/>
        </p:nvCxnSpPr>
        <p:spPr>
          <a:xfrm rot="16200000" flipV="1">
            <a:off x="4005715" y="1045990"/>
            <a:ext cx="465651" cy="678378"/>
          </a:xfrm>
          <a:prstGeom prst="bentConnector2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8" name="Connector: Elbow 67">
            <a:extLst>
              <a:ext uri="{FF2B5EF4-FFF2-40B4-BE49-F238E27FC236}">
                <a16:creationId xmlns:a16="http://schemas.microsoft.com/office/drawing/2014/main" id="{1AD16219-5EFE-FD3A-BD6F-8AE9C1AEF06E}"/>
              </a:ext>
            </a:extLst>
          </p:cNvPr>
          <p:cNvCxnSpPr>
            <a:cxnSpLocks/>
            <a:stCxn id="4" idx="6"/>
            <a:endCxn id="24" idx="1"/>
          </p:cNvCxnSpPr>
          <p:nvPr/>
        </p:nvCxnSpPr>
        <p:spPr>
          <a:xfrm>
            <a:off x="5492282" y="2406800"/>
            <a:ext cx="671996" cy="1"/>
          </a:xfrm>
          <a:prstGeom prst="bentConnector3">
            <a:avLst>
              <a:gd name="adj1" fmla="val 50000"/>
            </a:avLst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90" name="TextBox 89">
            <a:extLst>
              <a:ext uri="{FF2B5EF4-FFF2-40B4-BE49-F238E27FC236}">
                <a16:creationId xmlns:a16="http://schemas.microsoft.com/office/drawing/2014/main" id="{5DD752E6-FD08-45D1-3DB0-113B9FE5621F}"/>
              </a:ext>
            </a:extLst>
          </p:cNvPr>
          <p:cNvSpPr txBox="1"/>
          <p:nvPr/>
        </p:nvSpPr>
        <p:spPr>
          <a:xfrm>
            <a:off x="7816780" y="2237524"/>
            <a:ext cx="11552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/>
              <a:t>Product demographics, KPI trends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C807F93E-9687-7F66-77C1-CFDD89FBF8F0}"/>
              </a:ext>
            </a:extLst>
          </p:cNvPr>
          <p:cNvSpPr/>
          <p:nvPr/>
        </p:nvSpPr>
        <p:spPr>
          <a:xfrm>
            <a:off x="5963857" y="832867"/>
            <a:ext cx="1507486" cy="674599"/>
          </a:xfrm>
          <a:prstGeom prst="rect">
            <a:avLst/>
          </a:prstGeom>
          <a:solidFill>
            <a:srgbClr val="FFCB0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b="1"/>
              <a:t>Static &amp; Dynamic Client Data</a:t>
            </a:r>
          </a:p>
          <a:p>
            <a:pPr algn="ctr"/>
            <a:endParaRPr lang="en-IN" sz="800" b="1"/>
          </a:p>
          <a:p>
            <a:pPr algn="ctr"/>
            <a:r>
              <a:rPr lang="en-IN" sz="800" b="1"/>
              <a:t>ADR &amp; Flat Files</a:t>
            </a:r>
          </a:p>
        </p:txBody>
      </p:sp>
      <p:cxnSp>
        <p:nvCxnSpPr>
          <p:cNvPr id="92" name="Connector: Elbow 91">
            <a:extLst>
              <a:ext uri="{FF2B5EF4-FFF2-40B4-BE49-F238E27FC236}">
                <a16:creationId xmlns:a16="http://schemas.microsoft.com/office/drawing/2014/main" id="{8439BEB2-46BB-0BB3-F45B-E88346D18226}"/>
              </a:ext>
            </a:extLst>
          </p:cNvPr>
          <p:cNvCxnSpPr>
            <a:cxnSpLocks/>
            <a:stCxn id="91" idx="1"/>
            <a:endCxn id="4" idx="7"/>
          </p:cNvCxnSpPr>
          <p:nvPr/>
        </p:nvCxnSpPr>
        <p:spPr>
          <a:xfrm rot="10800000" flipV="1">
            <a:off x="5224415" y="1170167"/>
            <a:ext cx="739442" cy="678870"/>
          </a:xfrm>
          <a:prstGeom prst="bentConnector2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09" name="TextBox 108">
            <a:extLst>
              <a:ext uri="{FF2B5EF4-FFF2-40B4-BE49-F238E27FC236}">
                <a16:creationId xmlns:a16="http://schemas.microsoft.com/office/drawing/2014/main" id="{D0EADDEB-E03D-4019-68B9-F09D02E1C07F}"/>
              </a:ext>
            </a:extLst>
          </p:cNvPr>
          <p:cNvSpPr txBox="1"/>
          <p:nvPr/>
        </p:nvSpPr>
        <p:spPr>
          <a:xfrm>
            <a:off x="5188098" y="995815"/>
            <a:ext cx="9067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/>
              <a:t>Raw data</a:t>
            </a:r>
          </a:p>
          <a:p>
            <a:r>
              <a:rPr lang="en-IN" sz="800"/>
              <a:t>to generate feature set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8F2138CA-BB65-6E5A-F404-10CD16355148}"/>
              </a:ext>
            </a:extLst>
          </p:cNvPr>
          <p:cNvSpPr txBox="1"/>
          <p:nvPr/>
        </p:nvSpPr>
        <p:spPr>
          <a:xfrm>
            <a:off x="7199449" y="3351686"/>
            <a:ext cx="11552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/>
              <a:t>Potential clients, relevant products &amp; pitch specifics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DC78A4C4-0CF8-CCB2-A79B-2AAE89FFFA99}"/>
              </a:ext>
            </a:extLst>
          </p:cNvPr>
          <p:cNvSpPr txBox="1"/>
          <p:nvPr/>
        </p:nvSpPr>
        <p:spPr>
          <a:xfrm>
            <a:off x="1079965" y="1160359"/>
            <a:ext cx="10862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/>
              <a:t>Utilizes trained production model for customization &amp; model development</a:t>
            </a:r>
          </a:p>
        </p:txBody>
      </p:sp>
      <p:sp>
        <p:nvSpPr>
          <p:cNvPr id="129" name="Flowchart: Process 128">
            <a:extLst>
              <a:ext uri="{FF2B5EF4-FFF2-40B4-BE49-F238E27FC236}">
                <a16:creationId xmlns:a16="http://schemas.microsoft.com/office/drawing/2014/main" id="{ADF7D2B6-59FE-E279-5B79-50CC760E8691}"/>
              </a:ext>
            </a:extLst>
          </p:cNvPr>
          <p:cNvSpPr/>
          <p:nvPr/>
        </p:nvSpPr>
        <p:spPr>
          <a:xfrm>
            <a:off x="2076903" y="3233095"/>
            <a:ext cx="1609635" cy="817138"/>
          </a:xfrm>
          <a:prstGeom prst="flowChartProcess">
            <a:avLst/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/>
              <a:t>Scheduler</a:t>
            </a:r>
            <a:endParaRPr lang="en-IN" sz="800"/>
          </a:p>
          <a:p>
            <a:pPr algn="ctr"/>
            <a:endParaRPr lang="en-IN" sz="800"/>
          </a:p>
          <a:p>
            <a:pPr algn="ctr"/>
            <a:r>
              <a:rPr lang="en-IN" sz="800"/>
              <a:t>Monthly refresh of </a:t>
            </a:r>
          </a:p>
          <a:p>
            <a:pPr algn="ctr"/>
            <a:r>
              <a:rPr lang="en-IN" sz="800"/>
              <a:t>*Customer 360 dataset*,</a:t>
            </a:r>
          </a:p>
          <a:p>
            <a:pPr algn="ctr"/>
            <a:r>
              <a:rPr lang="en-IN" sz="800"/>
              <a:t>Model scores/predictions</a:t>
            </a:r>
          </a:p>
        </p:txBody>
      </p:sp>
      <p:cxnSp>
        <p:nvCxnSpPr>
          <p:cNvPr id="130" name="Connector: Elbow 129">
            <a:extLst>
              <a:ext uri="{FF2B5EF4-FFF2-40B4-BE49-F238E27FC236}">
                <a16:creationId xmlns:a16="http://schemas.microsoft.com/office/drawing/2014/main" id="{7374747F-BFD7-7367-6FA8-E3CE5F96F08D}"/>
              </a:ext>
            </a:extLst>
          </p:cNvPr>
          <p:cNvCxnSpPr>
            <a:cxnSpLocks/>
            <a:stCxn id="4" idx="4"/>
            <a:endCxn id="129" idx="3"/>
          </p:cNvCxnSpPr>
          <p:nvPr/>
        </p:nvCxnSpPr>
        <p:spPr>
          <a:xfrm rot="5400000">
            <a:off x="3909100" y="2973034"/>
            <a:ext cx="446069" cy="891191"/>
          </a:xfrm>
          <a:prstGeom prst="bentConnector2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92" name="TextBox 191">
            <a:extLst>
              <a:ext uri="{FF2B5EF4-FFF2-40B4-BE49-F238E27FC236}">
                <a16:creationId xmlns:a16="http://schemas.microsoft.com/office/drawing/2014/main" id="{6D30DEF9-2077-AFFD-21D8-3FAECA8A6184}"/>
              </a:ext>
            </a:extLst>
          </p:cNvPr>
          <p:cNvSpPr txBox="1"/>
          <p:nvPr/>
        </p:nvSpPr>
        <p:spPr>
          <a:xfrm>
            <a:off x="1340296" y="3474221"/>
            <a:ext cx="7137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/>
              <a:t>Add models </a:t>
            </a:r>
          </a:p>
          <a:p>
            <a:r>
              <a:rPr lang="en-IN" sz="800"/>
              <a:t>to the schedule</a:t>
            </a:r>
          </a:p>
        </p:txBody>
      </p:sp>
      <p:sp>
        <p:nvSpPr>
          <p:cNvPr id="194" name="Flowchart: Process 193">
            <a:extLst>
              <a:ext uri="{FF2B5EF4-FFF2-40B4-BE49-F238E27FC236}">
                <a16:creationId xmlns:a16="http://schemas.microsoft.com/office/drawing/2014/main" id="{CDC846A7-75CE-767A-7D26-3CF7715E147D}"/>
              </a:ext>
            </a:extLst>
          </p:cNvPr>
          <p:cNvSpPr/>
          <p:nvPr/>
        </p:nvSpPr>
        <p:spPr>
          <a:xfrm>
            <a:off x="459719" y="589196"/>
            <a:ext cx="8575765" cy="3607358"/>
          </a:xfrm>
          <a:prstGeom prst="flowChartProcess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B847D12-51C8-C464-7E18-2F4CEFA50F5C}"/>
              </a:ext>
            </a:extLst>
          </p:cNvPr>
          <p:cNvGrpSpPr/>
          <p:nvPr/>
        </p:nvGrpSpPr>
        <p:grpSpPr>
          <a:xfrm>
            <a:off x="8234429" y="3460664"/>
            <a:ext cx="790774" cy="520069"/>
            <a:chOff x="8228644" y="3385030"/>
            <a:chExt cx="790774" cy="520069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A9049918-405D-C2E4-9B09-CE07ADEE502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469861" y="3385030"/>
              <a:ext cx="314369" cy="362001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75613ED-85EE-379B-699C-D430DAA9ED28}"/>
                </a:ext>
              </a:extLst>
            </p:cNvPr>
            <p:cNvSpPr txBox="1"/>
            <p:nvPr/>
          </p:nvSpPr>
          <p:spPr>
            <a:xfrm>
              <a:off x="8228644" y="3658878"/>
              <a:ext cx="79077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000" b="1"/>
                <a:t>BiDA Users</a:t>
              </a:r>
            </a:p>
          </p:txBody>
        </p:sp>
      </p:grp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9D4C147D-7405-FD82-7C9E-221ED35FEBFF}"/>
              </a:ext>
            </a:extLst>
          </p:cNvPr>
          <p:cNvCxnSpPr>
            <a:cxnSpLocks/>
            <a:stCxn id="24" idx="3"/>
            <a:endCxn id="13" idx="0"/>
          </p:cNvCxnSpPr>
          <p:nvPr/>
        </p:nvCxnSpPr>
        <p:spPr>
          <a:xfrm>
            <a:off x="7841164" y="2406801"/>
            <a:ext cx="791667" cy="1053863"/>
          </a:xfrm>
          <a:prstGeom prst="bentConnector2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CCE9DEF4-C725-66C5-7AFF-25DA83A8F917}"/>
              </a:ext>
            </a:extLst>
          </p:cNvPr>
          <p:cNvCxnSpPr>
            <a:cxnSpLocks/>
            <a:stCxn id="25" idx="3"/>
            <a:endCxn id="13" idx="1"/>
          </p:cNvCxnSpPr>
          <p:nvPr/>
        </p:nvCxnSpPr>
        <p:spPr>
          <a:xfrm flipV="1">
            <a:off x="7087788" y="3641665"/>
            <a:ext cx="1387858" cy="1769"/>
          </a:xfrm>
          <a:prstGeom prst="bentConnector3">
            <a:avLst>
              <a:gd name="adj1" fmla="val 50000"/>
            </a:avLst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pSp>
        <p:nvGrpSpPr>
          <p:cNvPr id="53" name="Group 52">
            <a:extLst>
              <a:ext uri="{FF2B5EF4-FFF2-40B4-BE49-F238E27FC236}">
                <a16:creationId xmlns:a16="http://schemas.microsoft.com/office/drawing/2014/main" id="{A1802E1A-F90C-BE67-560C-6CC53734288F}"/>
              </a:ext>
            </a:extLst>
          </p:cNvPr>
          <p:cNvGrpSpPr/>
          <p:nvPr/>
        </p:nvGrpSpPr>
        <p:grpSpPr>
          <a:xfrm>
            <a:off x="490818" y="2136341"/>
            <a:ext cx="1248073" cy="535995"/>
            <a:chOff x="8228643" y="3369104"/>
            <a:chExt cx="1248073" cy="535995"/>
          </a:xfrm>
        </p:grpSpPr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C0A2382C-2E0D-B67D-7392-35028B6B3BF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695496" y="3369104"/>
              <a:ext cx="314369" cy="362001"/>
            </a:xfrm>
            <a:prstGeom prst="rect">
              <a:avLst/>
            </a:prstGeom>
          </p:spPr>
        </p:pic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51DB67D5-5EC2-74CC-990B-61A11474EEE3}"/>
                </a:ext>
              </a:extLst>
            </p:cNvPr>
            <p:cNvSpPr txBox="1"/>
            <p:nvPr/>
          </p:nvSpPr>
          <p:spPr>
            <a:xfrm>
              <a:off x="8228643" y="3658878"/>
              <a:ext cx="124807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000" b="1"/>
                <a:t>Data Science Users</a:t>
              </a:r>
            </a:p>
          </p:txBody>
        </p:sp>
      </p:grpSp>
      <p:cxnSp>
        <p:nvCxnSpPr>
          <p:cNvPr id="64" name="Connector: Elbow 63">
            <a:extLst>
              <a:ext uri="{FF2B5EF4-FFF2-40B4-BE49-F238E27FC236}">
                <a16:creationId xmlns:a16="http://schemas.microsoft.com/office/drawing/2014/main" id="{9393659C-BB10-3B30-2E15-2E85F71CCC95}"/>
              </a:ext>
            </a:extLst>
          </p:cNvPr>
          <p:cNvCxnSpPr>
            <a:cxnSpLocks/>
            <a:stCxn id="26" idx="1"/>
            <a:endCxn id="54" idx="0"/>
          </p:cNvCxnSpPr>
          <p:nvPr/>
        </p:nvCxnSpPr>
        <p:spPr>
          <a:xfrm rot="10800000" flipV="1">
            <a:off x="1114856" y="1152353"/>
            <a:ext cx="1174860" cy="983988"/>
          </a:xfrm>
          <a:prstGeom prst="bentConnector2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82" name="Connector: Elbow 81">
            <a:extLst>
              <a:ext uri="{FF2B5EF4-FFF2-40B4-BE49-F238E27FC236}">
                <a16:creationId xmlns:a16="http://schemas.microsoft.com/office/drawing/2014/main" id="{DD0FFAA0-35BB-A3C7-C07D-DE753E70DE1A}"/>
              </a:ext>
            </a:extLst>
          </p:cNvPr>
          <p:cNvCxnSpPr>
            <a:cxnSpLocks/>
            <a:stCxn id="23" idx="3"/>
            <a:endCxn id="129" idx="1"/>
          </p:cNvCxnSpPr>
          <p:nvPr/>
        </p:nvCxnSpPr>
        <p:spPr>
          <a:xfrm flipV="1">
            <a:off x="1429914" y="3641664"/>
            <a:ext cx="646989" cy="1834"/>
          </a:xfrm>
          <a:prstGeom prst="bentConnector3">
            <a:avLst>
              <a:gd name="adj1" fmla="val 50000"/>
            </a:avLst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01" name="TextBox 100">
            <a:extLst>
              <a:ext uri="{FF2B5EF4-FFF2-40B4-BE49-F238E27FC236}">
                <a16:creationId xmlns:a16="http://schemas.microsoft.com/office/drawing/2014/main" id="{3EDFA45D-7ABE-E373-50BA-3FB0F41026DD}"/>
              </a:ext>
            </a:extLst>
          </p:cNvPr>
          <p:cNvSpPr txBox="1"/>
          <p:nvPr/>
        </p:nvSpPr>
        <p:spPr>
          <a:xfrm>
            <a:off x="7843626" y="3917282"/>
            <a:ext cx="130615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/>
              <a:t>BiDA – Business Analytics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0BE113E-018A-FADE-20F9-F5C789BC5824}"/>
              </a:ext>
            </a:extLst>
          </p:cNvPr>
          <p:cNvGrpSpPr/>
          <p:nvPr/>
        </p:nvGrpSpPr>
        <p:grpSpPr>
          <a:xfrm>
            <a:off x="526739" y="3240099"/>
            <a:ext cx="903175" cy="526509"/>
            <a:chOff x="8228643" y="3378590"/>
            <a:chExt cx="903175" cy="526509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16236613-AE82-5A3C-C427-905B23EDC94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523045" y="3378590"/>
              <a:ext cx="314369" cy="362001"/>
            </a:xfrm>
            <a:prstGeom prst="rect">
              <a:avLst/>
            </a:prstGeom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6251F0FC-0EA4-5280-A220-455494423A62}"/>
                </a:ext>
              </a:extLst>
            </p:cNvPr>
            <p:cNvSpPr txBox="1"/>
            <p:nvPr/>
          </p:nvSpPr>
          <p:spPr>
            <a:xfrm>
              <a:off x="8228643" y="3658878"/>
              <a:ext cx="90317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000" b="1"/>
                <a:t>Admin Users</a:t>
              </a:r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4CE94C0A-E9F1-68AA-8A01-0EF6E161324F}"/>
              </a:ext>
            </a:extLst>
          </p:cNvPr>
          <p:cNvSpPr txBox="1"/>
          <p:nvPr/>
        </p:nvSpPr>
        <p:spPr>
          <a:xfrm>
            <a:off x="459720" y="4204560"/>
            <a:ext cx="30912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700" i="1"/>
              <a:t>*Customer 360 dataset is a by product with an exhaustive set of 400+ feature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58AA9C0-5C4A-E48D-9FD2-F87C04B49E4E}"/>
              </a:ext>
            </a:extLst>
          </p:cNvPr>
          <p:cNvSpPr txBox="1"/>
          <p:nvPr/>
        </p:nvSpPr>
        <p:spPr>
          <a:xfrm>
            <a:off x="3763612" y="3476571"/>
            <a:ext cx="8530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/>
              <a:t>Pipeline  extension using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50786FF-2A60-9FA1-7C27-CDA5B3DBB158}"/>
              </a:ext>
            </a:extLst>
          </p:cNvPr>
          <p:cNvSpPr txBox="1"/>
          <p:nvPr/>
        </p:nvSpPr>
        <p:spPr>
          <a:xfrm>
            <a:off x="4022804" y="989908"/>
            <a:ext cx="6783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/>
              <a:t>A platform for 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7A566F6F-042B-2007-74BC-4D37DB4E26BA}"/>
              </a:ext>
            </a:extLst>
          </p:cNvPr>
          <p:cNvSpPr txBox="1"/>
          <p:nvPr/>
        </p:nvSpPr>
        <p:spPr>
          <a:xfrm>
            <a:off x="4524895" y="3481266"/>
            <a:ext cx="12061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/>
              <a:t>Evidence based predictions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DF62E31B-87A8-2A29-DB2C-3DED739BAD4B}"/>
              </a:ext>
            </a:extLst>
          </p:cNvPr>
          <p:cNvSpPr txBox="1"/>
          <p:nvPr/>
        </p:nvSpPr>
        <p:spPr>
          <a:xfrm>
            <a:off x="5448167" y="2246272"/>
            <a:ext cx="6837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/>
              <a:t>Analytical reports</a:t>
            </a:r>
          </a:p>
        </p:txBody>
      </p:sp>
    </p:spTree>
    <p:extLst>
      <p:ext uri="{BB962C8B-B14F-4D97-AF65-F5344CB8AC3E}">
        <p14:creationId xmlns:p14="http://schemas.microsoft.com/office/powerpoint/2010/main" val="38483361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DBC0258-F895-4E41-AE96-C8BD962A9D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0B62E8-4833-C84D-A86B-4CF3C4DE74F8}" type="slidenum">
              <a:rPr kumimoji="0" lang="uk-UA" sz="750" b="0" i="0" u="none" strike="noStrike" kern="1200" cap="none" spc="0" normalizeH="0" baseline="0" noProof="0" smtClean="0">
                <a:ln>
                  <a:noFill/>
                </a:ln>
                <a:solidFill>
                  <a:srgbClr val="003946"/>
                </a:solidFill>
                <a:effectLst/>
                <a:uLnTx/>
                <a:uFillTx/>
                <a:ea typeface="+mn-ea"/>
                <a:cs typeface="Calibri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uk-UA" sz="750" b="0" i="0" u="none" strike="noStrike" kern="1200" cap="none" spc="0" normalizeH="0" baseline="0" noProof="0">
              <a:ln>
                <a:noFill/>
              </a:ln>
              <a:solidFill>
                <a:srgbClr val="003946"/>
              </a:solidFill>
              <a:effectLst/>
              <a:uLnTx/>
              <a:uFillTx/>
              <a:ea typeface="+mn-ea"/>
              <a:cs typeface="Calibri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EED6AB6-42E1-4286-B3E1-A19472D324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3935" y="0"/>
            <a:ext cx="6885797" cy="581025"/>
          </a:xfrm>
        </p:spPr>
        <p:txBody>
          <a:bodyPr/>
          <a:lstStyle/>
          <a:p>
            <a:r>
              <a:rPr lang="en-US" altLang="en-US"/>
              <a:t>System Diagram (Container)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D4B0062-0E5A-4745-B217-908F0306953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en-US"/>
              <a:t>C4 Model Diagram – Level 2 Container</a:t>
            </a: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49AE5C5-72D4-4057-98BE-DB83DB28D0DE}"/>
              </a:ext>
            </a:extLst>
          </p:cNvPr>
          <p:cNvSpPr/>
          <p:nvPr/>
        </p:nvSpPr>
        <p:spPr>
          <a:xfrm>
            <a:off x="453935" y="4548986"/>
            <a:ext cx="369570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lor code diagram which parts are new changes vs. existing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97C2A8A-EDB5-4FAA-8650-58EC21FC8D41}"/>
              </a:ext>
            </a:extLst>
          </p:cNvPr>
          <p:cNvGrpSpPr/>
          <p:nvPr/>
        </p:nvGrpSpPr>
        <p:grpSpPr>
          <a:xfrm>
            <a:off x="3797858" y="4562475"/>
            <a:ext cx="2075514" cy="234416"/>
            <a:chOff x="3797858" y="4562475"/>
            <a:chExt cx="2075514" cy="23441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1618E96-7902-4616-9C6F-D92CD91D075A}"/>
                </a:ext>
              </a:extLst>
            </p:cNvPr>
            <p:cNvSpPr/>
            <p:nvPr/>
          </p:nvSpPr>
          <p:spPr>
            <a:xfrm>
              <a:off x="3797858" y="4562475"/>
              <a:ext cx="502550" cy="233792"/>
            </a:xfrm>
            <a:prstGeom prst="rect">
              <a:avLst/>
            </a:prstGeom>
            <a:solidFill>
              <a:srgbClr val="FFCB05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o Change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D9775368-7C14-4C80-A369-84F2FADD8CDF}"/>
                </a:ext>
              </a:extLst>
            </p:cNvPr>
            <p:cNvSpPr/>
            <p:nvPr/>
          </p:nvSpPr>
          <p:spPr>
            <a:xfrm>
              <a:off x="4320669" y="4562475"/>
              <a:ext cx="502550" cy="233792"/>
            </a:xfrm>
            <a:prstGeom prst="rect">
              <a:avLst/>
            </a:prstGeom>
            <a:solidFill>
              <a:srgbClr val="5B9BD5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ew 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DD79905-C80E-49F1-8E58-5B8A3558E9DD}"/>
                </a:ext>
              </a:extLst>
            </p:cNvPr>
            <p:cNvSpPr/>
            <p:nvPr/>
          </p:nvSpPr>
          <p:spPr>
            <a:xfrm>
              <a:off x="4843480" y="4562475"/>
              <a:ext cx="502550" cy="233792"/>
            </a:xfrm>
            <a:prstGeom prst="rect">
              <a:avLst/>
            </a:prstGeom>
            <a:solidFill>
              <a:srgbClr val="70AD47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hange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1E9D9C8-0831-48D1-B8D7-4E3734F667D3}"/>
                </a:ext>
              </a:extLst>
            </p:cNvPr>
            <p:cNvSpPr/>
            <p:nvPr/>
          </p:nvSpPr>
          <p:spPr>
            <a:xfrm>
              <a:off x="5370822" y="4563099"/>
              <a:ext cx="502550" cy="233792"/>
            </a:xfrm>
            <a:prstGeom prst="rect">
              <a:avLst/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ot In Scope</a:t>
              </a:r>
            </a:p>
          </p:txBody>
        </p:sp>
      </p:grpSp>
      <p:sp>
        <p:nvSpPr>
          <p:cNvPr id="9" name="Oval 8">
            <a:extLst>
              <a:ext uri="{FF2B5EF4-FFF2-40B4-BE49-F238E27FC236}">
                <a16:creationId xmlns:a16="http://schemas.microsoft.com/office/drawing/2014/main" id="{EF01C3D8-DFA2-7BBA-8D2C-F4DAEDE5D49E}"/>
              </a:ext>
            </a:extLst>
          </p:cNvPr>
          <p:cNvSpPr/>
          <p:nvPr/>
        </p:nvSpPr>
        <p:spPr>
          <a:xfrm>
            <a:off x="3642603" y="1691373"/>
            <a:ext cx="1829107" cy="1577591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BO Product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 ML Product with Web Application for Interaction</a:t>
            </a:r>
            <a:endParaRPr kumimoji="0" lang="en-IN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Flowchart: Process 14">
            <a:extLst>
              <a:ext uri="{FF2B5EF4-FFF2-40B4-BE49-F238E27FC236}">
                <a16:creationId xmlns:a16="http://schemas.microsoft.com/office/drawing/2014/main" id="{701D1454-2C8F-7EDD-E1E4-FD85116E8340}"/>
              </a:ext>
            </a:extLst>
          </p:cNvPr>
          <p:cNvSpPr/>
          <p:nvPr/>
        </p:nvSpPr>
        <p:spPr>
          <a:xfrm>
            <a:off x="6858469" y="2142871"/>
            <a:ext cx="1596605" cy="674599"/>
          </a:xfrm>
          <a:prstGeom prst="flowChartProcess">
            <a:avLst/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IN" sz="1200"/>
              <a:t>Performance Reports</a:t>
            </a:r>
          </a:p>
        </p:txBody>
      </p:sp>
      <p:sp>
        <p:nvSpPr>
          <p:cNvPr id="17" name="Flowchart: Process 16">
            <a:extLst>
              <a:ext uri="{FF2B5EF4-FFF2-40B4-BE49-F238E27FC236}">
                <a16:creationId xmlns:a16="http://schemas.microsoft.com/office/drawing/2014/main" id="{E59F1463-2E24-4960-326F-F9D9D46554B5}"/>
              </a:ext>
            </a:extLst>
          </p:cNvPr>
          <p:cNvSpPr/>
          <p:nvPr/>
        </p:nvSpPr>
        <p:spPr>
          <a:xfrm>
            <a:off x="691834" y="2078408"/>
            <a:ext cx="1808895" cy="803519"/>
          </a:xfrm>
          <a:prstGeom prst="flowChartProcess">
            <a:avLst/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IN" sz="1200"/>
              <a:t>Model Development</a:t>
            </a:r>
            <a:endParaRPr lang="en-IN" sz="700"/>
          </a:p>
        </p:txBody>
      </p: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E2B90F25-04D7-5EFD-B493-FCCE007F9DED}"/>
              </a:ext>
            </a:extLst>
          </p:cNvPr>
          <p:cNvCxnSpPr>
            <a:cxnSpLocks/>
            <a:stCxn id="9" idx="4"/>
            <a:endCxn id="16" idx="1"/>
          </p:cNvCxnSpPr>
          <p:nvPr/>
        </p:nvCxnSpPr>
        <p:spPr>
          <a:xfrm rot="16200000" flipH="1">
            <a:off x="5173081" y="2653040"/>
            <a:ext cx="377787" cy="1609634"/>
          </a:xfrm>
          <a:prstGeom prst="bentConnector2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6FB29603-628F-296B-0CA0-32D579B2F363}"/>
              </a:ext>
            </a:extLst>
          </p:cNvPr>
          <p:cNvCxnSpPr>
            <a:cxnSpLocks/>
            <a:stCxn id="9" idx="2"/>
            <a:endCxn id="17" idx="3"/>
          </p:cNvCxnSpPr>
          <p:nvPr/>
        </p:nvCxnSpPr>
        <p:spPr>
          <a:xfrm rot="10800000">
            <a:off x="2500729" y="2480169"/>
            <a:ext cx="1141874" cy="1"/>
          </a:xfrm>
          <a:prstGeom prst="bentConnector3">
            <a:avLst>
              <a:gd name="adj1" fmla="val 50000"/>
            </a:avLst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8EDE1B53-69F8-98FF-1686-467E2180C9BD}"/>
              </a:ext>
            </a:extLst>
          </p:cNvPr>
          <p:cNvCxnSpPr>
            <a:cxnSpLocks/>
            <a:stCxn id="9" idx="6"/>
            <a:endCxn id="15" idx="1"/>
          </p:cNvCxnSpPr>
          <p:nvPr/>
        </p:nvCxnSpPr>
        <p:spPr>
          <a:xfrm>
            <a:off x="5471710" y="2480169"/>
            <a:ext cx="1386759" cy="2"/>
          </a:xfrm>
          <a:prstGeom prst="bentConnector3">
            <a:avLst>
              <a:gd name="adj1" fmla="val 50000"/>
            </a:avLst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9D066943-F8FA-6964-F0A8-C70467B5722D}"/>
              </a:ext>
            </a:extLst>
          </p:cNvPr>
          <p:cNvSpPr txBox="1"/>
          <p:nvPr/>
        </p:nvSpPr>
        <p:spPr>
          <a:xfrm>
            <a:off x="7974636" y="1804623"/>
            <a:ext cx="69508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b="1"/>
              <a:t>BiDA Users</a:t>
            </a:r>
          </a:p>
        </p:txBody>
      </p: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4C598E9C-6FC3-B9A5-3660-6A405674C2B8}"/>
              </a:ext>
            </a:extLst>
          </p:cNvPr>
          <p:cNvCxnSpPr>
            <a:cxnSpLocks/>
            <a:stCxn id="67" idx="2"/>
            <a:endCxn id="9" idx="0"/>
          </p:cNvCxnSpPr>
          <p:nvPr/>
        </p:nvCxnSpPr>
        <p:spPr>
          <a:xfrm rot="16200000" flipH="1">
            <a:off x="4417625" y="1551840"/>
            <a:ext cx="279063" cy="1"/>
          </a:xfrm>
          <a:prstGeom prst="bentConnector3">
            <a:avLst>
              <a:gd name="adj1" fmla="val 50000"/>
            </a:avLst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CC082053-A907-0BE1-B6B6-554343B1F305}"/>
              </a:ext>
            </a:extLst>
          </p:cNvPr>
          <p:cNvCxnSpPr>
            <a:cxnSpLocks/>
            <a:stCxn id="9" idx="4"/>
            <a:endCxn id="32" idx="3"/>
          </p:cNvCxnSpPr>
          <p:nvPr/>
        </p:nvCxnSpPr>
        <p:spPr>
          <a:xfrm rot="5400000">
            <a:off x="3477399" y="2565512"/>
            <a:ext cx="376306" cy="1783211"/>
          </a:xfrm>
          <a:prstGeom prst="bentConnector2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5" name="Flowchart: Process 34">
            <a:extLst>
              <a:ext uri="{FF2B5EF4-FFF2-40B4-BE49-F238E27FC236}">
                <a16:creationId xmlns:a16="http://schemas.microsoft.com/office/drawing/2014/main" id="{90D08AAD-A7F7-9CF1-CE69-7B0A5DE76CDF}"/>
              </a:ext>
            </a:extLst>
          </p:cNvPr>
          <p:cNvSpPr/>
          <p:nvPr/>
        </p:nvSpPr>
        <p:spPr>
          <a:xfrm>
            <a:off x="439148" y="662565"/>
            <a:ext cx="8242664" cy="3607358"/>
          </a:xfrm>
          <a:prstGeom prst="flowChartProcess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6" name="Flowchart: Process 35">
            <a:extLst>
              <a:ext uri="{FF2B5EF4-FFF2-40B4-BE49-F238E27FC236}">
                <a16:creationId xmlns:a16="http://schemas.microsoft.com/office/drawing/2014/main" id="{96BFAED1-716A-2288-4810-68DFB308FEBA}"/>
              </a:ext>
            </a:extLst>
          </p:cNvPr>
          <p:cNvSpPr/>
          <p:nvPr/>
        </p:nvSpPr>
        <p:spPr>
          <a:xfrm>
            <a:off x="5961267" y="1804623"/>
            <a:ext cx="2612154" cy="2406501"/>
          </a:xfrm>
          <a:prstGeom prst="flowChartProcess">
            <a:avLst/>
          </a:prstGeom>
          <a:noFill/>
          <a:ln w="12700">
            <a:solidFill>
              <a:schemeClr val="accent4">
                <a:lumMod val="50000"/>
              </a:schemeClr>
            </a:solidFill>
            <a:prstDash val="lg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7" name="Flowchart: Process 36">
            <a:extLst>
              <a:ext uri="{FF2B5EF4-FFF2-40B4-BE49-F238E27FC236}">
                <a16:creationId xmlns:a16="http://schemas.microsoft.com/office/drawing/2014/main" id="{E3604CA3-22CE-28A4-52C3-CE37D6529855}"/>
              </a:ext>
            </a:extLst>
          </p:cNvPr>
          <p:cNvSpPr/>
          <p:nvPr/>
        </p:nvSpPr>
        <p:spPr>
          <a:xfrm>
            <a:off x="516964" y="1804624"/>
            <a:ext cx="2867158" cy="1216026"/>
          </a:xfrm>
          <a:prstGeom prst="flowChartProcess">
            <a:avLst/>
          </a:prstGeom>
          <a:noFill/>
          <a:ln w="12700">
            <a:solidFill>
              <a:schemeClr val="accent4">
                <a:lumMod val="50000"/>
              </a:schemeClr>
            </a:solidFill>
            <a:prstDash val="lg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94DD0CF-CC57-6855-D1B8-000B6C7C5A3D}"/>
              </a:ext>
            </a:extLst>
          </p:cNvPr>
          <p:cNvSpPr txBox="1"/>
          <p:nvPr/>
        </p:nvSpPr>
        <p:spPr>
          <a:xfrm>
            <a:off x="2851222" y="1801418"/>
            <a:ext cx="69508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b="1"/>
              <a:t>DS User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0479FCF-228E-A82B-1722-E21513C65133}"/>
              </a:ext>
            </a:extLst>
          </p:cNvPr>
          <p:cNvSpPr txBox="1"/>
          <p:nvPr/>
        </p:nvSpPr>
        <p:spPr>
          <a:xfrm>
            <a:off x="467246" y="1804623"/>
            <a:ext cx="69508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b="1"/>
              <a:t>ML Product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D590041E-246C-544D-D8E5-EA4C461C6443}"/>
              </a:ext>
            </a:extLst>
          </p:cNvPr>
          <p:cNvSpPr txBox="1"/>
          <p:nvPr/>
        </p:nvSpPr>
        <p:spPr>
          <a:xfrm>
            <a:off x="5954487" y="1801418"/>
            <a:ext cx="84711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b="1"/>
              <a:t>Business Value</a:t>
            </a:r>
          </a:p>
        </p:txBody>
      </p:sp>
      <p:sp>
        <p:nvSpPr>
          <p:cNvPr id="4" name="Flowchart: Process 3">
            <a:extLst>
              <a:ext uri="{FF2B5EF4-FFF2-40B4-BE49-F238E27FC236}">
                <a16:creationId xmlns:a16="http://schemas.microsoft.com/office/drawing/2014/main" id="{8B97B069-4688-311B-3CB0-0B091D7F0F7D}"/>
              </a:ext>
            </a:extLst>
          </p:cNvPr>
          <p:cNvSpPr/>
          <p:nvPr/>
        </p:nvSpPr>
        <p:spPr>
          <a:xfrm>
            <a:off x="764097" y="2348058"/>
            <a:ext cx="810817" cy="355332"/>
          </a:xfrm>
          <a:prstGeom prst="flowChartProcess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/>
              <a:t>Features – ETL</a:t>
            </a:r>
          </a:p>
        </p:txBody>
      </p:sp>
      <p:sp>
        <p:nvSpPr>
          <p:cNvPr id="7" name="Flowchart: Process 6">
            <a:extLst>
              <a:ext uri="{FF2B5EF4-FFF2-40B4-BE49-F238E27FC236}">
                <a16:creationId xmlns:a16="http://schemas.microsoft.com/office/drawing/2014/main" id="{0CCC6C6E-CDB4-2CD4-8265-B0327BA12DEF}"/>
              </a:ext>
            </a:extLst>
          </p:cNvPr>
          <p:cNvSpPr/>
          <p:nvPr/>
        </p:nvSpPr>
        <p:spPr>
          <a:xfrm>
            <a:off x="1687034" y="2343762"/>
            <a:ext cx="723900" cy="361671"/>
          </a:xfrm>
          <a:prstGeom prst="flowChartProcess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/>
              <a:t>Model Training</a:t>
            </a: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EC8DF277-0BF7-A393-68BE-EA02A385795F}"/>
              </a:ext>
            </a:extLst>
          </p:cNvPr>
          <p:cNvGrpSpPr/>
          <p:nvPr/>
        </p:nvGrpSpPr>
        <p:grpSpPr>
          <a:xfrm>
            <a:off x="1386453" y="3337048"/>
            <a:ext cx="1387493" cy="616444"/>
            <a:chOff x="1848826" y="3337064"/>
            <a:chExt cx="1387493" cy="616444"/>
          </a:xfrm>
        </p:grpSpPr>
        <p:sp>
          <p:nvSpPr>
            <p:cNvPr id="32" name="Flowchart: Process 31">
              <a:extLst>
                <a:ext uri="{FF2B5EF4-FFF2-40B4-BE49-F238E27FC236}">
                  <a16:creationId xmlns:a16="http://schemas.microsoft.com/office/drawing/2014/main" id="{B7E28A44-4143-9F96-55A4-A1F010846758}"/>
                </a:ext>
              </a:extLst>
            </p:cNvPr>
            <p:cNvSpPr/>
            <p:nvPr/>
          </p:nvSpPr>
          <p:spPr>
            <a:xfrm>
              <a:off x="1848826" y="3337064"/>
              <a:ext cx="1387493" cy="616444"/>
            </a:xfrm>
            <a:prstGeom prst="flowChartProcess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IN" sz="1200"/>
                <a:t>Scheduler – </a:t>
              </a:r>
              <a:r>
                <a:rPr lang="en-IN" sz="1000" i="1"/>
                <a:t>Monthly</a:t>
              </a:r>
              <a:endParaRPr lang="en-IN" sz="1200" i="1"/>
            </a:p>
          </p:txBody>
        </p:sp>
        <p:sp>
          <p:nvSpPr>
            <p:cNvPr id="8" name="Flowchart: Process 7">
              <a:extLst>
                <a:ext uri="{FF2B5EF4-FFF2-40B4-BE49-F238E27FC236}">
                  <a16:creationId xmlns:a16="http://schemas.microsoft.com/office/drawing/2014/main" id="{7AD66CA9-966B-81EA-BD41-4E6C91FB7957}"/>
                </a:ext>
              </a:extLst>
            </p:cNvPr>
            <p:cNvSpPr/>
            <p:nvPr/>
          </p:nvSpPr>
          <p:spPr>
            <a:xfrm>
              <a:off x="1932652" y="3613280"/>
              <a:ext cx="635291" cy="301178"/>
            </a:xfrm>
            <a:prstGeom prst="flowChartProcess">
              <a:avLst/>
            </a:prstGeom>
            <a:solidFill>
              <a:schemeClr val="accent3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800"/>
                <a:t>Feature Set – C360</a:t>
              </a:r>
            </a:p>
          </p:txBody>
        </p:sp>
        <p:sp>
          <p:nvSpPr>
            <p:cNvPr id="25" name="Flowchart: Process 24">
              <a:extLst>
                <a:ext uri="{FF2B5EF4-FFF2-40B4-BE49-F238E27FC236}">
                  <a16:creationId xmlns:a16="http://schemas.microsoft.com/office/drawing/2014/main" id="{28249EED-FA5B-45CA-C5C8-1B3FA69FF180}"/>
                </a:ext>
              </a:extLst>
            </p:cNvPr>
            <p:cNvSpPr/>
            <p:nvPr/>
          </p:nvSpPr>
          <p:spPr>
            <a:xfrm>
              <a:off x="2621629" y="3616308"/>
              <a:ext cx="541886" cy="301178"/>
            </a:xfrm>
            <a:prstGeom prst="flowChartProcess">
              <a:avLst/>
            </a:prstGeom>
            <a:solidFill>
              <a:schemeClr val="accent3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800"/>
                <a:t>Model Scoring</a:t>
              </a: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73AC6A1-3043-805E-CE8B-651682619D65}"/>
              </a:ext>
            </a:extLst>
          </p:cNvPr>
          <p:cNvGrpSpPr/>
          <p:nvPr/>
        </p:nvGrpSpPr>
        <p:grpSpPr>
          <a:xfrm>
            <a:off x="6166791" y="3339994"/>
            <a:ext cx="1757492" cy="613514"/>
            <a:chOff x="6166791" y="3181429"/>
            <a:chExt cx="1757492" cy="613514"/>
          </a:xfrm>
        </p:grpSpPr>
        <p:sp>
          <p:nvSpPr>
            <p:cNvPr id="16" name="Flowchart: Process 15">
              <a:extLst>
                <a:ext uri="{FF2B5EF4-FFF2-40B4-BE49-F238E27FC236}">
                  <a16:creationId xmlns:a16="http://schemas.microsoft.com/office/drawing/2014/main" id="{1C51F77B-097A-4333-3EE5-A1168A47373D}"/>
                </a:ext>
              </a:extLst>
            </p:cNvPr>
            <p:cNvSpPr/>
            <p:nvPr/>
          </p:nvSpPr>
          <p:spPr>
            <a:xfrm>
              <a:off x="6166791" y="3181429"/>
              <a:ext cx="1757492" cy="613514"/>
            </a:xfrm>
            <a:prstGeom prst="flowChartProcess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IN" sz="1200"/>
                <a:t>Recommendations</a:t>
              </a:r>
            </a:p>
          </p:txBody>
        </p:sp>
        <p:sp>
          <p:nvSpPr>
            <p:cNvPr id="30" name="Flowchart: Process 29">
              <a:extLst>
                <a:ext uri="{FF2B5EF4-FFF2-40B4-BE49-F238E27FC236}">
                  <a16:creationId xmlns:a16="http://schemas.microsoft.com/office/drawing/2014/main" id="{04746D72-AC31-4A95-07BE-68FF61453C4F}"/>
                </a:ext>
              </a:extLst>
            </p:cNvPr>
            <p:cNvSpPr/>
            <p:nvPr/>
          </p:nvSpPr>
          <p:spPr>
            <a:xfrm>
              <a:off x="6209649" y="3457857"/>
              <a:ext cx="603827" cy="301343"/>
            </a:xfrm>
            <a:prstGeom prst="flowChartProcess">
              <a:avLst/>
            </a:prstGeom>
            <a:solidFill>
              <a:schemeClr val="accent3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800"/>
                <a:t>Potential Clients</a:t>
              </a:r>
            </a:p>
          </p:txBody>
        </p:sp>
        <p:sp>
          <p:nvSpPr>
            <p:cNvPr id="34" name="Flowchart: Process 33">
              <a:extLst>
                <a:ext uri="{FF2B5EF4-FFF2-40B4-BE49-F238E27FC236}">
                  <a16:creationId xmlns:a16="http://schemas.microsoft.com/office/drawing/2014/main" id="{715E9ACA-BC27-A4B2-43D3-2F1CC6828993}"/>
                </a:ext>
              </a:extLst>
            </p:cNvPr>
            <p:cNvSpPr/>
            <p:nvPr/>
          </p:nvSpPr>
          <p:spPr>
            <a:xfrm>
              <a:off x="6909379" y="3457857"/>
              <a:ext cx="976695" cy="301343"/>
            </a:xfrm>
            <a:prstGeom prst="flowChartProcess">
              <a:avLst/>
            </a:prstGeom>
            <a:solidFill>
              <a:schemeClr val="accent3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800"/>
                <a:t>Product Recommendations</a:t>
              </a:r>
            </a:p>
          </p:txBody>
        </p:sp>
      </p:grpSp>
      <p:sp>
        <p:nvSpPr>
          <p:cNvPr id="43" name="Flowchart: Process 42">
            <a:extLst>
              <a:ext uri="{FF2B5EF4-FFF2-40B4-BE49-F238E27FC236}">
                <a16:creationId xmlns:a16="http://schemas.microsoft.com/office/drawing/2014/main" id="{593EEC60-B978-A57B-8466-3FE31AAD0FDE}"/>
              </a:ext>
            </a:extLst>
          </p:cNvPr>
          <p:cNvSpPr/>
          <p:nvPr/>
        </p:nvSpPr>
        <p:spPr>
          <a:xfrm>
            <a:off x="6891073" y="2392897"/>
            <a:ext cx="722827" cy="357706"/>
          </a:xfrm>
          <a:prstGeom prst="flowChartProcess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/>
              <a:t>Market Performance</a:t>
            </a:r>
          </a:p>
        </p:txBody>
      </p:sp>
      <p:sp>
        <p:nvSpPr>
          <p:cNvPr id="44" name="Flowchart: Process 43">
            <a:extLst>
              <a:ext uri="{FF2B5EF4-FFF2-40B4-BE49-F238E27FC236}">
                <a16:creationId xmlns:a16="http://schemas.microsoft.com/office/drawing/2014/main" id="{777A01E1-D858-9FFA-1173-9F8D2B79193F}"/>
              </a:ext>
            </a:extLst>
          </p:cNvPr>
          <p:cNvSpPr/>
          <p:nvPr/>
        </p:nvSpPr>
        <p:spPr>
          <a:xfrm>
            <a:off x="7703694" y="2392897"/>
            <a:ext cx="722827" cy="357706"/>
          </a:xfrm>
          <a:prstGeom prst="flowChartProcess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/>
              <a:t>Product Performance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EDE21777-B65A-5D19-2B0B-8BF7F33D55BD}"/>
              </a:ext>
            </a:extLst>
          </p:cNvPr>
          <p:cNvGrpSpPr/>
          <p:nvPr/>
        </p:nvGrpSpPr>
        <p:grpSpPr>
          <a:xfrm>
            <a:off x="3526389" y="759183"/>
            <a:ext cx="2061534" cy="653127"/>
            <a:chOff x="3526389" y="759183"/>
            <a:chExt cx="2061534" cy="653127"/>
          </a:xfrm>
        </p:grpSpPr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AADA1DB0-DD5E-FFD5-6C20-47F1EA7CC35F}"/>
                </a:ext>
              </a:extLst>
            </p:cNvPr>
            <p:cNvSpPr/>
            <p:nvPr/>
          </p:nvSpPr>
          <p:spPr>
            <a:xfrm>
              <a:off x="3526389" y="759183"/>
              <a:ext cx="2061534" cy="653127"/>
            </a:xfrm>
            <a:prstGeom prst="rect">
              <a:avLst/>
            </a:prstGeom>
            <a:solidFill>
              <a:srgbClr val="FFCB0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IN" sz="1200" b="1"/>
                <a:t>Static &amp; Dynamic Client Data</a:t>
              </a: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0AA8B01A-4077-B82A-1952-82916CB0BD23}"/>
                </a:ext>
              </a:extLst>
            </p:cNvPr>
            <p:cNvSpPr/>
            <p:nvPr/>
          </p:nvSpPr>
          <p:spPr>
            <a:xfrm>
              <a:off x="3891874" y="1009000"/>
              <a:ext cx="534946" cy="315512"/>
            </a:xfrm>
            <a:prstGeom prst="rect">
              <a:avLst/>
            </a:prstGeom>
            <a:solidFill>
              <a:srgbClr val="FFCB05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800" b="1"/>
                <a:t>Flat Files</a:t>
              </a: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194D59B3-1830-0254-AA45-BC7979C02514}"/>
                </a:ext>
              </a:extLst>
            </p:cNvPr>
            <p:cNvSpPr/>
            <p:nvPr/>
          </p:nvSpPr>
          <p:spPr>
            <a:xfrm>
              <a:off x="4668896" y="1009000"/>
              <a:ext cx="534946" cy="315512"/>
            </a:xfrm>
            <a:prstGeom prst="rect">
              <a:avLst/>
            </a:prstGeom>
            <a:solidFill>
              <a:srgbClr val="FFCB05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800" b="1"/>
                <a:t>ADR</a:t>
              </a:r>
            </a:p>
          </p:txBody>
        </p:sp>
      </p:grp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96AA9E27-4716-8BA5-A8C0-21A3814C9EB6}"/>
              </a:ext>
            </a:extLst>
          </p:cNvPr>
          <p:cNvCxnSpPr/>
          <p:nvPr/>
        </p:nvCxnSpPr>
        <p:spPr>
          <a:xfrm>
            <a:off x="1214438" y="2806015"/>
            <a:ext cx="795337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5" name="TextBox 94">
            <a:extLst>
              <a:ext uri="{FF2B5EF4-FFF2-40B4-BE49-F238E27FC236}">
                <a16:creationId xmlns:a16="http://schemas.microsoft.com/office/drawing/2014/main" id="{091A3E93-A8AA-5449-707F-7C2F121C4B15}"/>
              </a:ext>
            </a:extLst>
          </p:cNvPr>
          <p:cNvSpPr txBox="1"/>
          <p:nvPr/>
        </p:nvSpPr>
        <p:spPr>
          <a:xfrm>
            <a:off x="4508765" y="1369817"/>
            <a:ext cx="12322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/>
              <a:t>Raw data</a:t>
            </a:r>
          </a:p>
          <a:p>
            <a:r>
              <a:rPr lang="en-IN" sz="800"/>
              <a:t> to generate feature set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B253058A-5C3E-206F-B4E2-044D38468849}"/>
              </a:ext>
            </a:extLst>
          </p:cNvPr>
          <p:cNvSpPr txBox="1"/>
          <p:nvPr/>
        </p:nvSpPr>
        <p:spPr>
          <a:xfrm>
            <a:off x="5410284" y="2305623"/>
            <a:ext cx="6837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/>
              <a:t>Analytical reports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2D1C2D7B-F03F-9389-A71B-6FE414E9D05A}"/>
              </a:ext>
            </a:extLst>
          </p:cNvPr>
          <p:cNvSpPr txBox="1"/>
          <p:nvPr/>
        </p:nvSpPr>
        <p:spPr>
          <a:xfrm>
            <a:off x="4534910" y="3467594"/>
            <a:ext cx="12061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/>
              <a:t>Evidence based predictions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B4BD9F23-0ACF-BF58-1E98-A6CA9E3CEBF5}"/>
              </a:ext>
            </a:extLst>
          </p:cNvPr>
          <p:cNvSpPr txBox="1"/>
          <p:nvPr/>
        </p:nvSpPr>
        <p:spPr>
          <a:xfrm>
            <a:off x="2703128" y="2314295"/>
            <a:ext cx="7620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/>
              <a:t>Enables Model Development</a:t>
            </a:r>
          </a:p>
        </p:txBody>
      </p:sp>
      <p:sp>
        <p:nvSpPr>
          <p:cNvPr id="10" name="Flowchart: Process 9">
            <a:extLst>
              <a:ext uri="{FF2B5EF4-FFF2-40B4-BE49-F238E27FC236}">
                <a16:creationId xmlns:a16="http://schemas.microsoft.com/office/drawing/2014/main" id="{D831FC45-A935-A164-DC7E-AC58C49B71BB}"/>
              </a:ext>
            </a:extLst>
          </p:cNvPr>
          <p:cNvSpPr/>
          <p:nvPr/>
        </p:nvSpPr>
        <p:spPr>
          <a:xfrm>
            <a:off x="853440" y="3174639"/>
            <a:ext cx="2530682" cy="913870"/>
          </a:xfrm>
          <a:prstGeom prst="flowChartProcess">
            <a:avLst/>
          </a:prstGeom>
          <a:noFill/>
          <a:ln w="12700">
            <a:solidFill>
              <a:schemeClr val="accent4">
                <a:lumMod val="50000"/>
              </a:schemeClr>
            </a:solidFill>
            <a:prstDash val="lg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FE6E254-757D-97A8-6834-BDCAC2EB5EE3}"/>
              </a:ext>
            </a:extLst>
          </p:cNvPr>
          <p:cNvSpPr txBox="1"/>
          <p:nvPr/>
        </p:nvSpPr>
        <p:spPr>
          <a:xfrm>
            <a:off x="2689141" y="3155650"/>
            <a:ext cx="74313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b="1"/>
              <a:t>Admin User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9EFD495-D885-E77D-39F9-A1F49963FBA0}"/>
              </a:ext>
            </a:extLst>
          </p:cNvPr>
          <p:cNvSpPr txBox="1"/>
          <p:nvPr/>
        </p:nvSpPr>
        <p:spPr>
          <a:xfrm>
            <a:off x="795528" y="3151577"/>
            <a:ext cx="69508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b="1"/>
              <a:t>Pipelin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D967063-AD8D-F17E-DB28-4AACA04E8B6B}"/>
              </a:ext>
            </a:extLst>
          </p:cNvPr>
          <p:cNvSpPr txBox="1"/>
          <p:nvPr/>
        </p:nvSpPr>
        <p:spPr>
          <a:xfrm>
            <a:off x="3351058" y="3466455"/>
            <a:ext cx="8530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/>
              <a:t>Pipeline  extension using</a:t>
            </a:r>
          </a:p>
        </p:txBody>
      </p:sp>
    </p:spTree>
    <p:extLst>
      <p:ext uri="{BB962C8B-B14F-4D97-AF65-F5344CB8AC3E}">
        <p14:creationId xmlns:p14="http://schemas.microsoft.com/office/powerpoint/2010/main" val="9855251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DBC0258-F895-4E41-AE96-C8BD962A9D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0B62E8-4833-C84D-A86B-4CF3C4DE74F8}" type="slidenum">
              <a:rPr kumimoji="0" lang="uk-UA" sz="750" b="0" i="0" u="none" strike="noStrike" kern="1200" cap="none" spc="0" normalizeH="0" baseline="0" noProof="0" smtClean="0">
                <a:ln>
                  <a:noFill/>
                </a:ln>
                <a:solidFill>
                  <a:srgbClr val="003946"/>
                </a:solidFill>
                <a:effectLst/>
                <a:uLnTx/>
                <a:uFillTx/>
                <a:ea typeface="+mn-ea"/>
                <a:cs typeface="Calibri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uk-UA" sz="750" b="0" i="0" u="none" strike="noStrike" kern="1200" cap="none" spc="0" normalizeH="0" baseline="0" noProof="0">
              <a:ln>
                <a:noFill/>
              </a:ln>
              <a:solidFill>
                <a:srgbClr val="003946"/>
              </a:solidFill>
              <a:effectLst/>
              <a:uLnTx/>
              <a:uFillTx/>
              <a:ea typeface="+mn-ea"/>
              <a:cs typeface="Calibri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EED6AB6-42E1-4286-B3E1-A19472D324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3935" y="1"/>
            <a:ext cx="6885797" cy="403818"/>
          </a:xfrm>
        </p:spPr>
        <p:txBody>
          <a:bodyPr/>
          <a:lstStyle/>
          <a:p>
            <a:r>
              <a:rPr lang="en-US" altLang="en-US"/>
              <a:t>System Diagram (Component)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D4B0062-0E5A-4745-B217-908F0306953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en-US"/>
              <a:t>C4 Model Diagram – Level 2 Container</a:t>
            </a: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49AE5C5-72D4-4057-98BE-DB83DB28D0DE}"/>
              </a:ext>
            </a:extLst>
          </p:cNvPr>
          <p:cNvSpPr/>
          <p:nvPr/>
        </p:nvSpPr>
        <p:spPr>
          <a:xfrm>
            <a:off x="453935" y="4548986"/>
            <a:ext cx="369570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lor code diagram which parts are new changes vs. existing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97C2A8A-EDB5-4FAA-8650-58EC21FC8D41}"/>
              </a:ext>
            </a:extLst>
          </p:cNvPr>
          <p:cNvGrpSpPr/>
          <p:nvPr/>
        </p:nvGrpSpPr>
        <p:grpSpPr>
          <a:xfrm>
            <a:off x="3797858" y="4562475"/>
            <a:ext cx="2075514" cy="234416"/>
            <a:chOff x="3797858" y="4562475"/>
            <a:chExt cx="2075514" cy="23441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1618E96-7902-4616-9C6F-D92CD91D075A}"/>
                </a:ext>
              </a:extLst>
            </p:cNvPr>
            <p:cNvSpPr/>
            <p:nvPr/>
          </p:nvSpPr>
          <p:spPr>
            <a:xfrm>
              <a:off x="3797858" y="4562475"/>
              <a:ext cx="502550" cy="233792"/>
            </a:xfrm>
            <a:prstGeom prst="rect">
              <a:avLst/>
            </a:prstGeom>
            <a:solidFill>
              <a:srgbClr val="FFCB05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o Change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D9775368-7C14-4C80-A369-84F2FADD8CDF}"/>
                </a:ext>
              </a:extLst>
            </p:cNvPr>
            <p:cNvSpPr/>
            <p:nvPr/>
          </p:nvSpPr>
          <p:spPr>
            <a:xfrm>
              <a:off x="4320669" y="4562475"/>
              <a:ext cx="502550" cy="233792"/>
            </a:xfrm>
            <a:prstGeom prst="rect">
              <a:avLst/>
            </a:prstGeom>
            <a:solidFill>
              <a:srgbClr val="5B9BD5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ew 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DD79905-C80E-49F1-8E58-5B8A3558E9DD}"/>
                </a:ext>
              </a:extLst>
            </p:cNvPr>
            <p:cNvSpPr/>
            <p:nvPr/>
          </p:nvSpPr>
          <p:spPr>
            <a:xfrm>
              <a:off x="4843480" y="4562475"/>
              <a:ext cx="502550" cy="233792"/>
            </a:xfrm>
            <a:prstGeom prst="rect">
              <a:avLst/>
            </a:prstGeom>
            <a:solidFill>
              <a:srgbClr val="70AD47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hange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1E9D9C8-0831-48D1-B8D7-4E3734F667D3}"/>
                </a:ext>
              </a:extLst>
            </p:cNvPr>
            <p:cNvSpPr/>
            <p:nvPr/>
          </p:nvSpPr>
          <p:spPr>
            <a:xfrm>
              <a:off x="5370822" y="4563099"/>
              <a:ext cx="502550" cy="233792"/>
            </a:xfrm>
            <a:prstGeom prst="rect">
              <a:avLst/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ot In Scope</a:t>
              </a:r>
            </a:p>
          </p:txBody>
        </p:sp>
      </p:grpSp>
      <p:sp>
        <p:nvSpPr>
          <p:cNvPr id="9" name="Oval 8">
            <a:extLst>
              <a:ext uri="{FF2B5EF4-FFF2-40B4-BE49-F238E27FC236}">
                <a16:creationId xmlns:a16="http://schemas.microsoft.com/office/drawing/2014/main" id="{EF01C3D8-DFA2-7BBA-8D2C-F4DAEDE5D49E}"/>
              </a:ext>
            </a:extLst>
          </p:cNvPr>
          <p:cNvSpPr/>
          <p:nvPr/>
        </p:nvSpPr>
        <p:spPr>
          <a:xfrm>
            <a:off x="3769198" y="1691374"/>
            <a:ext cx="1572843" cy="1344080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BO Product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 ML Product with Web Application for Interaction</a:t>
            </a:r>
          </a:p>
        </p:txBody>
      </p:sp>
      <p:sp>
        <p:nvSpPr>
          <p:cNvPr id="15" name="Flowchart: Process 14">
            <a:extLst>
              <a:ext uri="{FF2B5EF4-FFF2-40B4-BE49-F238E27FC236}">
                <a16:creationId xmlns:a16="http://schemas.microsoft.com/office/drawing/2014/main" id="{701D1454-2C8F-7EDD-E1E4-FD85116E8340}"/>
              </a:ext>
            </a:extLst>
          </p:cNvPr>
          <p:cNvSpPr/>
          <p:nvPr/>
        </p:nvSpPr>
        <p:spPr>
          <a:xfrm>
            <a:off x="5938039" y="897883"/>
            <a:ext cx="2698865" cy="1655559"/>
          </a:xfrm>
          <a:prstGeom prst="flowChartProcess">
            <a:avLst/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IN" sz="1200"/>
              <a:t>Performance Reports</a:t>
            </a:r>
          </a:p>
        </p:txBody>
      </p:sp>
      <p:sp>
        <p:nvSpPr>
          <p:cNvPr id="17" name="Flowchart: Process 16">
            <a:extLst>
              <a:ext uri="{FF2B5EF4-FFF2-40B4-BE49-F238E27FC236}">
                <a16:creationId xmlns:a16="http://schemas.microsoft.com/office/drawing/2014/main" id="{E59F1463-2E24-4960-326F-F9D9D46554B5}"/>
              </a:ext>
            </a:extLst>
          </p:cNvPr>
          <p:cNvSpPr/>
          <p:nvPr/>
        </p:nvSpPr>
        <p:spPr>
          <a:xfrm>
            <a:off x="437269" y="722841"/>
            <a:ext cx="2893848" cy="1876014"/>
          </a:xfrm>
          <a:prstGeom prst="flowChartProcess">
            <a:avLst/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IN" sz="1200"/>
              <a:t>Model Development</a:t>
            </a:r>
          </a:p>
        </p:txBody>
      </p: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E2B90F25-04D7-5EFD-B493-FCCE007F9DED}"/>
              </a:ext>
            </a:extLst>
          </p:cNvPr>
          <p:cNvCxnSpPr>
            <a:cxnSpLocks/>
            <a:stCxn id="9" idx="4"/>
            <a:endCxn id="16" idx="1"/>
          </p:cNvCxnSpPr>
          <p:nvPr/>
        </p:nvCxnSpPr>
        <p:spPr>
          <a:xfrm rot="16200000" flipH="1">
            <a:off x="4986444" y="2604629"/>
            <a:ext cx="495015" cy="1356663"/>
          </a:xfrm>
          <a:prstGeom prst="bentConnector2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6FB29603-628F-296B-0CA0-32D579B2F363}"/>
              </a:ext>
            </a:extLst>
          </p:cNvPr>
          <p:cNvCxnSpPr>
            <a:cxnSpLocks/>
            <a:stCxn id="9" idx="2"/>
            <a:endCxn id="17" idx="3"/>
          </p:cNvCxnSpPr>
          <p:nvPr/>
        </p:nvCxnSpPr>
        <p:spPr>
          <a:xfrm rot="10800000">
            <a:off x="3331118" y="1660848"/>
            <a:ext cx="438081" cy="702566"/>
          </a:xfrm>
          <a:prstGeom prst="bentConnector3">
            <a:avLst>
              <a:gd name="adj1" fmla="val 50000"/>
            </a:avLst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8EDE1B53-69F8-98FF-1686-467E2180C9BD}"/>
              </a:ext>
            </a:extLst>
          </p:cNvPr>
          <p:cNvCxnSpPr>
            <a:cxnSpLocks/>
            <a:stCxn id="9" idx="6"/>
            <a:endCxn id="15" idx="1"/>
          </p:cNvCxnSpPr>
          <p:nvPr/>
        </p:nvCxnSpPr>
        <p:spPr>
          <a:xfrm flipV="1">
            <a:off x="5342041" y="1725663"/>
            <a:ext cx="595998" cy="637751"/>
          </a:xfrm>
          <a:prstGeom prst="bentConnector3">
            <a:avLst>
              <a:gd name="adj1" fmla="val 50000"/>
            </a:avLst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9D066943-F8FA-6964-F0A8-C70467B5722D}"/>
              </a:ext>
            </a:extLst>
          </p:cNvPr>
          <p:cNvSpPr txBox="1"/>
          <p:nvPr/>
        </p:nvSpPr>
        <p:spPr>
          <a:xfrm>
            <a:off x="8161492" y="667628"/>
            <a:ext cx="69508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b="1"/>
              <a:t>BiDA Users</a:t>
            </a:r>
          </a:p>
        </p:txBody>
      </p: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4C598E9C-6FC3-B9A5-3660-6A405674C2B8}"/>
              </a:ext>
            </a:extLst>
          </p:cNvPr>
          <p:cNvCxnSpPr>
            <a:cxnSpLocks/>
            <a:stCxn id="67" idx="2"/>
            <a:endCxn id="9" idx="0"/>
          </p:cNvCxnSpPr>
          <p:nvPr/>
        </p:nvCxnSpPr>
        <p:spPr>
          <a:xfrm rot="16200000" flipH="1">
            <a:off x="4280624" y="1416377"/>
            <a:ext cx="549895" cy="97"/>
          </a:xfrm>
          <a:prstGeom prst="bentConnector3">
            <a:avLst>
              <a:gd name="adj1" fmla="val 50000"/>
            </a:avLst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2" name="Flowchart: Process 31">
            <a:extLst>
              <a:ext uri="{FF2B5EF4-FFF2-40B4-BE49-F238E27FC236}">
                <a16:creationId xmlns:a16="http://schemas.microsoft.com/office/drawing/2014/main" id="{B7E28A44-4143-9F96-55A4-A1F010846758}"/>
              </a:ext>
            </a:extLst>
          </p:cNvPr>
          <p:cNvSpPr/>
          <p:nvPr/>
        </p:nvSpPr>
        <p:spPr>
          <a:xfrm>
            <a:off x="453935" y="2939376"/>
            <a:ext cx="2829954" cy="1182183"/>
          </a:xfrm>
          <a:prstGeom prst="flowChartProcess">
            <a:avLst/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IN" sz="1200"/>
              <a:t>Scheduler</a:t>
            </a:r>
            <a:r>
              <a:rPr lang="en-IN" sz="1050"/>
              <a:t> (</a:t>
            </a:r>
            <a:r>
              <a:rPr lang="en-IN" sz="1050" i="1"/>
              <a:t>Monthly)</a:t>
            </a:r>
            <a:endParaRPr lang="en-IN" sz="700" i="1"/>
          </a:p>
        </p:txBody>
      </p: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CC082053-A907-0BE1-B6B6-554343B1F305}"/>
              </a:ext>
            </a:extLst>
          </p:cNvPr>
          <p:cNvCxnSpPr>
            <a:cxnSpLocks/>
            <a:stCxn id="9" idx="4"/>
            <a:endCxn id="32" idx="3"/>
          </p:cNvCxnSpPr>
          <p:nvPr/>
        </p:nvCxnSpPr>
        <p:spPr>
          <a:xfrm rot="5400000">
            <a:off x="3672248" y="2647096"/>
            <a:ext cx="495014" cy="1271731"/>
          </a:xfrm>
          <a:prstGeom prst="bentConnector2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5" name="Flowchart: Process 34">
            <a:extLst>
              <a:ext uri="{FF2B5EF4-FFF2-40B4-BE49-F238E27FC236}">
                <a16:creationId xmlns:a16="http://schemas.microsoft.com/office/drawing/2014/main" id="{90D08AAD-A7F7-9CF1-CE69-7B0A5DE76CDF}"/>
              </a:ext>
            </a:extLst>
          </p:cNvPr>
          <p:cNvSpPr/>
          <p:nvPr/>
        </p:nvSpPr>
        <p:spPr>
          <a:xfrm>
            <a:off x="241387" y="429978"/>
            <a:ext cx="8631535" cy="3827796"/>
          </a:xfrm>
          <a:prstGeom prst="flowChartProcess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6" name="Flowchart: Process 35">
            <a:extLst>
              <a:ext uri="{FF2B5EF4-FFF2-40B4-BE49-F238E27FC236}">
                <a16:creationId xmlns:a16="http://schemas.microsoft.com/office/drawing/2014/main" id="{96BFAED1-716A-2288-4810-68DFB308FEBA}"/>
              </a:ext>
            </a:extLst>
          </p:cNvPr>
          <p:cNvSpPr/>
          <p:nvPr/>
        </p:nvSpPr>
        <p:spPr>
          <a:xfrm>
            <a:off x="5763455" y="666751"/>
            <a:ext cx="3039073" cy="3544372"/>
          </a:xfrm>
          <a:prstGeom prst="flowChartProcess">
            <a:avLst/>
          </a:prstGeom>
          <a:noFill/>
          <a:ln w="12700">
            <a:solidFill>
              <a:schemeClr val="accent4">
                <a:lumMod val="50000"/>
              </a:schemeClr>
            </a:solidFill>
            <a:prstDash val="lg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7" name="Flowchart: Process 36">
            <a:extLst>
              <a:ext uri="{FF2B5EF4-FFF2-40B4-BE49-F238E27FC236}">
                <a16:creationId xmlns:a16="http://schemas.microsoft.com/office/drawing/2014/main" id="{E3604CA3-22CE-28A4-52C3-CE37D6529855}"/>
              </a:ext>
            </a:extLst>
          </p:cNvPr>
          <p:cNvSpPr/>
          <p:nvPr/>
        </p:nvSpPr>
        <p:spPr>
          <a:xfrm>
            <a:off x="363721" y="568647"/>
            <a:ext cx="3088979" cy="2098923"/>
          </a:xfrm>
          <a:prstGeom prst="flowChartProcess">
            <a:avLst/>
          </a:prstGeom>
          <a:noFill/>
          <a:ln w="12700">
            <a:solidFill>
              <a:schemeClr val="accent4">
                <a:lumMod val="50000"/>
              </a:schemeClr>
            </a:solidFill>
            <a:prstDash val="lg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94DD0CF-CC57-6855-D1B8-000B6C7C5A3D}"/>
              </a:ext>
            </a:extLst>
          </p:cNvPr>
          <p:cNvSpPr txBox="1"/>
          <p:nvPr/>
        </p:nvSpPr>
        <p:spPr>
          <a:xfrm>
            <a:off x="2936347" y="523772"/>
            <a:ext cx="69508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b="1"/>
              <a:t>DS User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0479FCF-228E-A82B-1722-E21513C65133}"/>
              </a:ext>
            </a:extLst>
          </p:cNvPr>
          <p:cNvSpPr txBox="1"/>
          <p:nvPr/>
        </p:nvSpPr>
        <p:spPr>
          <a:xfrm>
            <a:off x="312196" y="533212"/>
            <a:ext cx="69508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b="1"/>
              <a:t>ML Product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D590041E-246C-544D-D8E5-EA4C461C6443}"/>
              </a:ext>
            </a:extLst>
          </p:cNvPr>
          <p:cNvSpPr txBox="1"/>
          <p:nvPr/>
        </p:nvSpPr>
        <p:spPr>
          <a:xfrm>
            <a:off x="5711801" y="667628"/>
            <a:ext cx="84711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b="1"/>
              <a:t>Business Value</a:t>
            </a:r>
          </a:p>
        </p:txBody>
      </p:sp>
      <p:sp>
        <p:nvSpPr>
          <p:cNvPr id="4" name="Flowchart: Process 3">
            <a:extLst>
              <a:ext uri="{FF2B5EF4-FFF2-40B4-BE49-F238E27FC236}">
                <a16:creationId xmlns:a16="http://schemas.microsoft.com/office/drawing/2014/main" id="{8B97B069-4688-311B-3CB0-0B091D7F0F7D}"/>
              </a:ext>
            </a:extLst>
          </p:cNvPr>
          <p:cNvSpPr/>
          <p:nvPr/>
        </p:nvSpPr>
        <p:spPr>
          <a:xfrm>
            <a:off x="506632" y="1001504"/>
            <a:ext cx="1292327" cy="253340"/>
          </a:xfrm>
          <a:prstGeom prst="flowChartProcess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b="1"/>
              <a:t>Features – ETL</a:t>
            </a:r>
          </a:p>
        </p:txBody>
      </p:sp>
      <p:sp>
        <p:nvSpPr>
          <p:cNvPr id="7" name="Flowchart: Process 6">
            <a:extLst>
              <a:ext uri="{FF2B5EF4-FFF2-40B4-BE49-F238E27FC236}">
                <a16:creationId xmlns:a16="http://schemas.microsoft.com/office/drawing/2014/main" id="{0CCC6C6E-CDB4-2CD4-8265-B0327BA12DEF}"/>
              </a:ext>
            </a:extLst>
          </p:cNvPr>
          <p:cNvSpPr/>
          <p:nvPr/>
        </p:nvSpPr>
        <p:spPr>
          <a:xfrm>
            <a:off x="1931882" y="1001504"/>
            <a:ext cx="1292327" cy="253340"/>
          </a:xfrm>
          <a:prstGeom prst="flowChartProcess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b="1"/>
              <a:t>Model Training</a:t>
            </a:r>
          </a:p>
        </p:txBody>
      </p:sp>
      <p:sp>
        <p:nvSpPr>
          <p:cNvPr id="8" name="Flowchart: Process 7">
            <a:extLst>
              <a:ext uri="{FF2B5EF4-FFF2-40B4-BE49-F238E27FC236}">
                <a16:creationId xmlns:a16="http://schemas.microsoft.com/office/drawing/2014/main" id="{7AD66CA9-966B-81EA-BD41-4E6C91FB7957}"/>
              </a:ext>
            </a:extLst>
          </p:cNvPr>
          <p:cNvSpPr/>
          <p:nvPr/>
        </p:nvSpPr>
        <p:spPr>
          <a:xfrm>
            <a:off x="523299" y="3189405"/>
            <a:ext cx="1292326" cy="301178"/>
          </a:xfrm>
          <a:prstGeom prst="flowChartProcess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b="1"/>
              <a:t>Feature Set – C360</a:t>
            </a:r>
          </a:p>
        </p:txBody>
      </p:sp>
      <p:sp>
        <p:nvSpPr>
          <p:cNvPr id="25" name="Flowchart: Process 24">
            <a:extLst>
              <a:ext uri="{FF2B5EF4-FFF2-40B4-BE49-F238E27FC236}">
                <a16:creationId xmlns:a16="http://schemas.microsoft.com/office/drawing/2014/main" id="{28249EED-FA5B-45CA-C5C8-1B3FA69FF180}"/>
              </a:ext>
            </a:extLst>
          </p:cNvPr>
          <p:cNvSpPr/>
          <p:nvPr/>
        </p:nvSpPr>
        <p:spPr>
          <a:xfrm>
            <a:off x="1965832" y="3188081"/>
            <a:ext cx="1275044" cy="301178"/>
          </a:xfrm>
          <a:prstGeom prst="flowChartProcess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b="1"/>
              <a:t>Model Scoring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73AC6A1-3043-805E-CE8B-651682619D65}"/>
              </a:ext>
            </a:extLst>
          </p:cNvPr>
          <p:cNvGrpSpPr/>
          <p:nvPr/>
        </p:nvGrpSpPr>
        <p:grpSpPr>
          <a:xfrm>
            <a:off x="5912283" y="3035453"/>
            <a:ext cx="2698865" cy="990032"/>
            <a:chOff x="6166791" y="3181429"/>
            <a:chExt cx="1757492" cy="613514"/>
          </a:xfrm>
        </p:grpSpPr>
        <p:sp>
          <p:nvSpPr>
            <p:cNvPr id="16" name="Flowchart: Process 15">
              <a:extLst>
                <a:ext uri="{FF2B5EF4-FFF2-40B4-BE49-F238E27FC236}">
                  <a16:creationId xmlns:a16="http://schemas.microsoft.com/office/drawing/2014/main" id="{1C51F77B-097A-4333-3EE5-A1168A47373D}"/>
                </a:ext>
              </a:extLst>
            </p:cNvPr>
            <p:cNvSpPr/>
            <p:nvPr/>
          </p:nvSpPr>
          <p:spPr>
            <a:xfrm>
              <a:off x="6166791" y="3181429"/>
              <a:ext cx="1757492" cy="613514"/>
            </a:xfrm>
            <a:prstGeom prst="flowChartProcess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IN" sz="1200"/>
                <a:t>Recommendations</a:t>
              </a:r>
            </a:p>
          </p:txBody>
        </p:sp>
        <p:sp>
          <p:nvSpPr>
            <p:cNvPr id="30" name="Flowchart: Process 29">
              <a:extLst>
                <a:ext uri="{FF2B5EF4-FFF2-40B4-BE49-F238E27FC236}">
                  <a16:creationId xmlns:a16="http://schemas.microsoft.com/office/drawing/2014/main" id="{04746D72-AC31-4A95-07BE-68FF61453C4F}"/>
                </a:ext>
              </a:extLst>
            </p:cNvPr>
            <p:cNvSpPr/>
            <p:nvPr/>
          </p:nvSpPr>
          <p:spPr>
            <a:xfrm>
              <a:off x="6209649" y="3352167"/>
              <a:ext cx="603827" cy="162053"/>
            </a:xfrm>
            <a:prstGeom prst="flowChartProcess">
              <a:avLst/>
            </a:prstGeom>
            <a:solidFill>
              <a:schemeClr val="accent3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800" b="1"/>
                <a:t>Potential Clients</a:t>
              </a:r>
            </a:p>
          </p:txBody>
        </p:sp>
        <p:sp>
          <p:nvSpPr>
            <p:cNvPr id="34" name="Flowchart: Process 33">
              <a:extLst>
                <a:ext uri="{FF2B5EF4-FFF2-40B4-BE49-F238E27FC236}">
                  <a16:creationId xmlns:a16="http://schemas.microsoft.com/office/drawing/2014/main" id="{715E9ACA-BC27-A4B2-43D3-2F1CC6828993}"/>
                </a:ext>
              </a:extLst>
            </p:cNvPr>
            <p:cNvSpPr/>
            <p:nvPr/>
          </p:nvSpPr>
          <p:spPr>
            <a:xfrm>
              <a:off x="6904112" y="3352167"/>
              <a:ext cx="976695" cy="162053"/>
            </a:xfrm>
            <a:prstGeom prst="flowChartProcess">
              <a:avLst/>
            </a:prstGeom>
            <a:solidFill>
              <a:schemeClr val="accent3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800" b="1"/>
                <a:t>Product Recommendations</a:t>
              </a:r>
            </a:p>
          </p:txBody>
        </p:sp>
      </p:grpSp>
      <p:sp>
        <p:nvSpPr>
          <p:cNvPr id="43" name="Flowchart: Process 42">
            <a:extLst>
              <a:ext uri="{FF2B5EF4-FFF2-40B4-BE49-F238E27FC236}">
                <a16:creationId xmlns:a16="http://schemas.microsoft.com/office/drawing/2014/main" id="{593EEC60-B978-A57B-8466-3FE31AAD0FDE}"/>
              </a:ext>
            </a:extLst>
          </p:cNvPr>
          <p:cNvSpPr/>
          <p:nvPr/>
        </p:nvSpPr>
        <p:spPr>
          <a:xfrm>
            <a:off x="6007335" y="1147909"/>
            <a:ext cx="1238300" cy="357706"/>
          </a:xfrm>
          <a:prstGeom prst="flowChartProcess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b="1"/>
              <a:t>Market Performance</a:t>
            </a:r>
          </a:p>
        </p:txBody>
      </p:sp>
      <p:sp>
        <p:nvSpPr>
          <p:cNvPr id="44" name="Flowchart: Process 43">
            <a:extLst>
              <a:ext uri="{FF2B5EF4-FFF2-40B4-BE49-F238E27FC236}">
                <a16:creationId xmlns:a16="http://schemas.microsoft.com/office/drawing/2014/main" id="{777A01E1-D858-9FFA-1173-9F8D2B79193F}"/>
              </a:ext>
            </a:extLst>
          </p:cNvPr>
          <p:cNvSpPr/>
          <p:nvPr/>
        </p:nvSpPr>
        <p:spPr>
          <a:xfrm>
            <a:off x="7335428" y="1147909"/>
            <a:ext cx="1235116" cy="357706"/>
          </a:xfrm>
          <a:prstGeom prst="flowChartProcess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b="1"/>
              <a:t>Product Performance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EDE21777-B65A-5D19-2B0B-8BF7F33D55BD}"/>
              </a:ext>
            </a:extLst>
          </p:cNvPr>
          <p:cNvGrpSpPr/>
          <p:nvPr/>
        </p:nvGrpSpPr>
        <p:grpSpPr>
          <a:xfrm>
            <a:off x="3515294" y="488352"/>
            <a:ext cx="2080457" cy="653127"/>
            <a:chOff x="3811838" y="742564"/>
            <a:chExt cx="1455298" cy="653127"/>
          </a:xfrm>
        </p:grpSpPr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AADA1DB0-DD5E-FFD5-6C20-47F1EA7CC35F}"/>
                </a:ext>
              </a:extLst>
            </p:cNvPr>
            <p:cNvSpPr/>
            <p:nvPr/>
          </p:nvSpPr>
          <p:spPr>
            <a:xfrm>
              <a:off x="3811838" y="742564"/>
              <a:ext cx="1455298" cy="653127"/>
            </a:xfrm>
            <a:prstGeom prst="rect">
              <a:avLst/>
            </a:prstGeom>
            <a:solidFill>
              <a:srgbClr val="FFCB0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IN" sz="1200" b="1"/>
                <a:t>Static &amp; Dynamic Client Data</a:t>
              </a: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0AA8B01A-4077-B82A-1952-82916CB0BD23}"/>
                </a:ext>
              </a:extLst>
            </p:cNvPr>
            <p:cNvSpPr/>
            <p:nvPr/>
          </p:nvSpPr>
          <p:spPr>
            <a:xfrm>
              <a:off x="3891874" y="1009000"/>
              <a:ext cx="455793" cy="315512"/>
            </a:xfrm>
            <a:prstGeom prst="rect">
              <a:avLst/>
            </a:prstGeom>
            <a:solidFill>
              <a:srgbClr val="FFCB05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800" b="1"/>
                <a:t>CSVs from SharePoint</a:t>
              </a: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194D59B3-1830-0254-AA45-BC7979C02514}"/>
                </a:ext>
              </a:extLst>
            </p:cNvPr>
            <p:cNvSpPr/>
            <p:nvPr/>
          </p:nvSpPr>
          <p:spPr>
            <a:xfrm>
              <a:off x="4897873" y="1002868"/>
              <a:ext cx="276282" cy="319024"/>
            </a:xfrm>
            <a:prstGeom prst="rect">
              <a:avLst/>
            </a:prstGeom>
            <a:solidFill>
              <a:srgbClr val="FFCB05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800" b="1"/>
                <a:t>ADR</a:t>
              </a: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E2E57C9D-AF09-FB85-DA75-DDDFAAD7299F}"/>
              </a:ext>
            </a:extLst>
          </p:cNvPr>
          <p:cNvSpPr/>
          <p:nvPr/>
        </p:nvSpPr>
        <p:spPr>
          <a:xfrm>
            <a:off x="4369412" y="750923"/>
            <a:ext cx="613605" cy="315512"/>
          </a:xfrm>
          <a:prstGeom prst="rect">
            <a:avLst/>
          </a:prstGeom>
          <a:solidFill>
            <a:srgbClr val="FFCB05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b="1"/>
              <a:t>CSVs from AWS S3</a:t>
            </a:r>
          </a:p>
        </p:txBody>
      </p:sp>
      <p:sp>
        <p:nvSpPr>
          <p:cNvPr id="58" name="Flowchart: Process 57">
            <a:extLst>
              <a:ext uri="{FF2B5EF4-FFF2-40B4-BE49-F238E27FC236}">
                <a16:creationId xmlns:a16="http://schemas.microsoft.com/office/drawing/2014/main" id="{5E2819F6-2A2B-A221-9D6B-94040C0AB4EA}"/>
              </a:ext>
            </a:extLst>
          </p:cNvPr>
          <p:cNvSpPr/>
          <p:nvPr/>
        </p:nvSpPr>
        <p:spPr>
          <a:xfrm>
            <a:off x="709147" y="1333798"/>
            <a:ext cx="881566" cy="253340"/>
          </a:xfrm>
          <a:prstGeom prst="flowChartProcess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/>
              <a:t>Descriptive statistics</a:t>
            </a:r>
          </a:p>
        </p:txBody>
      </p:sp>
      <p:sp>
        <p:nvSpPr>
          <p:cNvPr id="60" name="Flowchart: Process 59">
            <a:extLst>
              <a:ext uri="{FF2B5EF4-FFF2-40B4-BE49-F238E27FC236}">
                <a16:creationId xmlns:a16="http://schemas.microsoft.com/office/drawing/2014/main" id="{E612CF2F-34A9-7B9C-83A2-4AB5330297D8}"/>
              </a:ext>
            </a:extLst>
          </p:cNvPr>
          <p:cNvSpPr/>
          <p:nvPr/>
        </p:nvSpPr>
        <p:spPr>
          <a:xfrm>
            <a:off x="709147" y="1677157"/>
            <a:ext cx="881566" cy="253340"/>
          </a:xfrm>
          <a:prstGeom prst="flowChartProcess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/>
              <a:t>Data Transformations</a:t>
            </a:r>
          </a:p>
        </p:txBody>
      </p:sp>
      <p:sp>
        <p:nvSpPr>
          <p:cNvPr id="65" name="Flowchart: Process 64">
            <a:extLst>
              <a:ext uri="{FF2B5EF4-FFF2-40B4-BE49-F238E27FC236}">
                <a16:creationId xmlns:a16="http://schemas.microsoft.com/office/drawing/2014/main" id="{3B4A0638-A725-F0AD-FDB2-CB5B4D245BD4}"/>
              </a:ext>
            </a:extLst>
          </p:cNvPr>
          <p:cNvSpPr/>
          <p:nvPr/>
        </p:nvSpPr>
        <p:spPr>
          <a:xfrm>
            <a:off x="709147" y="2005297"/>
            <a:ext cx="881566" cy="253340"/>
          </a:xfrm>
          <a:prstGeom prst="flowChartProcess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/>
              <a:t>Data Merge</a:t>
            </a:r>
          </a:p>
          <a:p>
            <a:pPr algn="ctr"/>
            <a:r>
              <a:rPr lang="en-IN" sz="800"/>
              <a:t>(Join datasets)</a:t>
            </a:r>
          </a:p>
        </p:txBody>
      </p:sp>
      <p:sp>
        <p:nvSpPr>
          <p:cNvPr id="70" name="Flowchart: Process 69">
            <a:extLst>
              <a:ext uri="{FF2B5EF4-FFF2-40B4-BE49-F238E27FC236}">
                <a16:creationId xmlns:a16="http://schemas.microsoft.com/office/drawing/2014/main" id="{FEE7C0CE-80B8-16CF-875B-F97757355653}"/>
              </a:ext>
            </a:extLst>
          </p:cNvPr>
          <p:cNvSpPr/>
          <p:nvPr/>
        </p:nvSpPr>
        <p:spPr>
          <a:xfrm>
            <a:off x="716327" y="2300102"/>
            <a:ext cx="881566" cy="253340"/>
          </a:xfrm>
          <a:prstGeom prst="flowChartProcess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/>
              <a:t>Feature Engineering</a:t>
            </a:r>
          </a:p>
        </p:txBody>
      </p:sp>
      <p:sp>
        <p:nvSpPr>
          <p:cNvPr id="71" name="Flowchart: Process 70">
            <a:extLst>
              <a:ext uri="{FF2B5EF4-FFF2-40B4-BE49-F238E27FC236}">
                <a16:creationId xmlns:a16="http://schemas.microsoft.com/office/drawing/2014/main" id="{1CC66878-B8A6-DFED-E507-2C239B5AD526}"/>
              </a:ext>
            </a:extLst>
          </p:cNvPr>
          <p:cNvSpPr/>
          <p:nvPr/>
        </p:nvSpPr>
        <p:spPr>
          <a:xfrm>
            <a:off x="2096203" y="1329706"/>
            <a:ext cx="979012" cy="253340"/>
          </a:xfrm>
          <a:prstGeom prst="flowChartProcess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/>
              <a:t>Feature Reduction &amp; Selection</a:t>
            </a:r>
          </a:p>
        </p:txBody>
      </p:sp>
      <p:sp>
        <p:nvSpPr>
          <p:cNvPr id="72" name="Flowchart: Process 71">
            <a:extLst>
              <a:ext uri="{FF2B5EF4-FFF2-40B4-BE49-F238E27FC236}">
                <a16:creationId xmlns:a16="http://schemas.microsoft.com/office/drawing/2014/main" id="{DD552DE7-9252-B6E3-B50F-BF983C85A1BC}"/>
              </a:ext>
            </a:extLst>
          </p:cNvPr>
          <p:cNvSpPr/>
          <p:nvPr/>
        </p:nvSpPr>
        <p:spPr>
          <a:xfrm>
            <a:off x="2137262" y="1673065"/>
            <a:ext cx="881566" cy="253340"/>
          </a:xfrm>
          <a:prstGeom prst="flowChartProcess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/>
              <a:t>Feature Transformation</a:t>
            </a:r>
          </a:p>
        </p:txBody>
      </p:sp>
      <p:sp>
        <p:nvSpPr>
          <p:cNvPr id="73" name="Flowchart: Process 72">
            <a:extLst>
              <a:ext uri="{FF2B5EF4-FFF2-40B4-BE49-F238E27FC236}">
                <a16:creationId xmlns:a16="http://schemas.microsoft.com/office/drawing/2014/main" id="{ACF7BACE-EDFD-1114-7E3B-A77F3C022824}"/>
              </a:ext>
            </a:extLst>
          </p:cNvPr>
          <p:cNvSpPr/>
          <p:nvPr/>
        </p:nvSpPr>
        <p:spPr>
          <a:xfrm>
            <a:off x="2111664" y="2001205"/>
            <a:ext cx="926965" cy="253340"/>
          </a:xfrm>
          <a:prstGeom prst="flowChartProcess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/>
              <a:t>Model Parameter Tuning</a:t>
            </a:r>
          </a:p>
        </p:txBody>
      </p:sp>
      <p:sp>
        <p:nvSpPr>
          <p:cNvPr id="74" name="Flowchart: Process 73">
            <a:extLst>
              <a:ext uri="{FF2B5EF4-FFF2-40B4-BE49-F238E27FC236}">
                <a16:creationId xmlns:a16="http://schemas.microsoft.com/office/drawing/2014/main" id="{F904EFCD-F6F4-724F-D799-AE8AF80EBDC2}"/>
              </a:ext>
            </a:extLst>
          </p:cNvPr>
          <p:cNvSpPr/>
          <p:nvPr/>
        </p:nvSpPr>
        <p:spPr>
          <a:xfrm>
            <a:off x="2145904" y="2302017"/>
            <a:ext cx="881566" cy="253340"/>
          </a:xfrm>
          <a:prstGeom prst="flowChartProcess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/>
              <a:t>Model training &amp; evaluation</a:t>
            </a:r>
          </a:p>
        </p:txBody>
      </p:sp>
      <p:sp>
        <p:nvSpPr>
          <p:cNvPr id="76" name="Flowchart: Process 75">
            <a:extLst>
              <a:ext uri="{FF2B5EF4-FFF2-40B4-BE49-F238E27FC236}">
                <a16:creationId xmlns:a16="http://schemas.microsoft.com/office/drawing/2014/main" id="{A7C40B21-59D7-032E-D134-4C7D5CA01425}"/>
              </a:ext>
            </a:extLst>
          </p:cNvPr>
          <p:cNvSpPr/>
          <p:nvPr/>
        </p:nvSpPr>
        <p:spPr>
          <a:xfrm>
            <a:off x="804792" y="3536789"/>
            <a:ext cx="832487" cy="146712"/>
          </a:xfrm>
          <a:prstGeom prst="flowChartProcess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/>
              <a:t>Base Features</a:t>
            </a:r>
          </a:p>
        </p:txBody>
      </p:sp>
      <p:sp>
        <p:nvSpPr>
          <p:cNvPr id="78" name="Flowchart: Process 77">
            <a:extLst>
              <a:ext uri="{FF2B5EF4-FFF2-40B4-BE49-F238E27FC236}">
                <a16:creationId xmlns:a16="http://schemas.microsoft.com/office/drawing/2014/main" id="{C1AC398B-3B46-0BAC-2ED5-A73FEC695A4E}"/>
              </a:ext>
            </a:extLst>
          </p:cNvPr>
          <p:cNvSpPr/>
          <p:nvPr/>
        </p:nvSpPr>
        <p:spPr>
          <a:xfrm>
            <a:off x="740347" y="3723042"/>
            <a:ext cx="907157" cy="154664"/>
          </a:xfrm>
          <a:prstGeom prst="flowChartProcess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/>
              <a:t>Derived Features</a:t>
            </a:r>
          </a:p>
        </p:txBody>
      </p:sp>
      <p:sp>
        <p:nvSpPr>
          <p:cNvPr id="82" name="Flowchart: Process 81">
            <a:extLst>
              <a:ext uri="{FF2B5EF4-FFF2-40B4-BE49-F238E27FC236}">
                <a16:creationId xmlns:a16="http://schemas.microsoft.com/office/drawing/2014/main" id="{5A9E9655-D223-F53C-070D-947CDF9E5F87}"/>
              </a:ext>
            </a:extLst>
          </p:cNvPr>
          <p:cNvSpPr/>
          <p:nvPr/>
        </p:nvSpPr>
        <p:spPr>
          <a:xfrm>
            <a:off x="910525" y="3924032"/>
            <a:ext cx="566803" cy="129679"/>
          </a:xfrm>
          <a:prstGeom prst="flowChartProcess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/>
              <a:t>Markers</a:t>
            </a:r>
          </a:p>
        </p:txBody>
      </p:sp>
      <p:sp>
        <p:nvSpPr>
          <p:cNvPr id="101" name="Flowchart: Process 100">
            <a:extLst>
              <a:ext uri="{FF2B5EF4-FFF2-40B4-BE49-F238E27FC236}">
                <a16:creationId xmlns:a16="http://schemas.microsoft.com/office/drawing/2014/main" id="{BEA8A5D7-EC78-8D4E-3752-E5D5055E0177}"/>
              </a:ext>
            </a:extLst>
          </p:cNvPr>
          <p:cNvSpPr/>
          <p:nvPr/>
        </p:nvSpPr>
        <p:spPr>
          <a:xfrm>
            <a:off x="6136979" y="1594767"/>
            <a:ext cx="979012" cy="253340"/>
          </a:xfrm>
          <a:prstGeom prst="flowChartProcess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/>
              <a:t>Client Conversion</a:t>
            </a:r>
          </a:p>
        </p:txBody>
      </p:sp>
      <p:sp>
        <p:nvSpPr>
          <p:cNvPr id="102" name="Flowchart: Process 101">
            <a:extLst>
              <a:ext uri="{FF2B5EF4-FFF2-40B4-BE49-F238E27FC236}">
                <a16:creationId xmlns:a16="http://schemas.microsoft.com/office/drawing/2014/main" id="{0BDFC9C8-1107-1DE9-55BE-29B293FEF459}"/>
              </a:ext>
            </a:extLst>
          </p:cNvPr>
          <p:cNvSpPr/>
          <p:nvPr/>
        </p:nvSpPr>
        <p:spPr>
          <a:xfrm>
            <a:off x="6136979" y="1921307"/>
            <a:ext cx="979012" cy="253340"/>
          </a:xfrm>
          <a:prstGeom prst="flowChartProcess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/>
              <a:t>AFYP</a:t>
            </a:r>
          </a:p>
        </p:txBody>
      </p:sp>
      <p:sp>
        <p:nvSpPr>
          <p:cNvPr id="103" name="Flowchart: Process 102">
            <a:extLst>
              <a:ext uri="{FF2B5EF4-FFF2-40B4-BE49-F238E27FC236}">
                <a16:creationId xmlns:a16="http://schemas.microsoft.com/office/drawing/2014/main" id="{68B1285C-F374-6B94-847E-FDBD638AFC50}"/>
              </a:ext>
            </a:extLst>
          </p:cNvPr>
          <p:cNvSpPr/>
          <p:nvPr/>
        </p:nvSpPr>
        <p:spPr>
          <a:xfrm>
            <a:off x="6141395" y="2245678"/>
            <a:ext cx="979012" cy="253340"/>
          </a:xfrm>
          <a:prstGeom prst="flowChartProcess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/>
              <a:t>Investment</a:t>
            </a:r>
          </a:p>
        </p:txBody>
      </p:sp>
      <p:sp>
        <p:nvSpPr>
          <p:cNvPr id="106" name="Flowchart: Process 105">
            <a:extLst>
              <a:ext uri="{FF2B5EF4-FFF2-40B4-BE49-F238E27FC236}">
                <a16:creationId xmlns:a16="http://schemas.microsoft.com/office/drawing/2014/main" id="{CB82B772-5CC6-DE7A-A57E-2B5E7A413154}"/>
              </a:ext>
            </a:extLst>
          </p:cNvPr>
          <p:cNvSpPr/>
          <p:nvPr/>
        </p:nvSpPr>
        <p:spPr>
          <a:xfrm>
            <a:off x="7450981" y="1598858"/>
            <a:ext cx="1051604" cy="430525"/>
          </a:xfrm>
          <a:prstGeom prst="flowChartProcess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/>
              <a:t>Product – Purchased vs Recommended statistic</a:t>
            </a:r>
          </a:p>
        </p:txBody>
      </p:sp>
      <p:sp>
        <p:nvSpPr>
          <p:cNvPr id="107" name="Flowchart: Process 106">
            <a:extLst>
              <a:ext uri="{FF2B5EF4-FFF2-40B4-BE49-F238E27FC236}">
                <a16:creationId xmlns:a16="http://schemas.microsoft.com/office/drawing/2014/main" id="{EE47E8FF-E733-042E-C935-DE638157C8E0}"/>
              </a:ext>
            </a:extLst>
          </p:cNvPr>
          <p:cNvSpPr/>
          <p:nvPr/>
        </p:nvSpPr>
        <p:spPr>
          <a:xfrm>
            <a:off x="7467501" y="2180339"/>
            <a:ext cx="1035084" cy="279230"/>
          </a:xfrm>
          <a:prstGeom prst="flowChartProcess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/>
              <a:t>% Uplift Trend in KPIs</a:t>
            </a:r>
          </a:p>
        </p:txBody>
      </p: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E5C9D652-6B7E-863C-F2F6-3E932F4A1987}"/>
              </a:ext>
            </a:extLst>
          </p:cNvPr>
          <p:cNvCxnSpPr/>
          <p:nvPr/>
        </p:nvCxnSpPr>
        <p:spPr>
          <a:xfrm>
            <a:off x="611713" y="1333798"/>
            <a:ext cx="0" cy="1219644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Arrow Connector 112">
            <a:extLst>
              <a:ext uri="{FF2B5EF4-FFF2-40B4-BE49-F238E27FC236}">
                <a16:creationId xmlns:a16="http://schemas.microsoft.com/office/drawing/2014/main" id="{DA51A294-8995-17F7-F27E-1084BF4E3FD3}"/>
              </a:ext>
            </a:extLst>
          </p:cNvPr>
          <p:cNvCxnSpPr>
            <a:cxnSpLocks/>
            <a:stCxn id="70" idx="3"/>
            <a:endCxn id="7" idx="1"/>
          </p:cNvCxnSpPr>
          <p:nvPr/>
        </p:nvCxnSpPr>
        <p:spPr>
          <a:xfrm flipV="1">
            <a:off x="1597893" y="1128174"/>
            <a:ext cx="333989" cy="1298598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290A0A3A-1507-54FB-B2C5-3372AAA16F32}"/>
              </a:ext>
            </a:extLst>
          </p:cNvPr>
          <p:cNvCxnSpPr>
            <a:cxnSpLocks/>
          </p:cNvCxnSpPr>
          <p:nvPr/>
        </p:nvCxnSpPr>
        <p:spPr>
          <a:xfrm flipH="1">
            <a:off x="3165008" y="1376599"/>
            <a:ext cx="2100" cy="1176843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5" name="TextBox 124">
            <a:extLst>
              <a:ext uri="{FF2B5EF4-FFF2-40B4-BE49-F238E27FC236}">
                <a16:creationId xmlns:a16="http://schemas.microsoft.com/office/drawing/2014/main" id="{F1DDD7E4-9914-7D53-A1C1-8E8B8B23B637}"/>
              </a:ext>
            </a:extLst>
          </p:cNvPr>
          <p:cNvSpPr txBox="1"/>
          <p:nvPr/>
        </p:nvSpPr>
        <p:spPr>
          <a:xfrm>
            <a:off x="3503467" y="1412378"/>
            <a:ext cx="7620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/>
              <a:t>Enables Model Development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F787A565-7B7B-5615-A95C-5DD3CB056DF8}"/>
              </a:ext>
            </a:extLst>
          </p:cNvPr>
          <p:cNvSpPr txBox="1"/>
          <p:nvPr/>
        </p:nvSpPr>
        <p:spPr>
          <a:xfrm>
            <a:off x="4508047" y="1131057"/>
            <a:ext cx="109519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/>
              <a:t>Raw data to generate feature set</a:t>
            </a: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E257AF9B-1B35-319C-43EA-341FE2631977}"/>
              </a:ext>
            </a:extLst>
          </p:cNvPr>
          <p:cNvSpPr txBox="1"/>
          <p:nvPr/>
        </p:nvSpPr>
        <p:spPr>
          <a:xfrm rot="16200000">
            <a:off x="-100327" y="1779735"/>
            <a:ext cx="1299843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700"/>
              <a:t>Raw to Transformed features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D1A92629-2331-0EF3-1E65-1191B1DA4649}"/>
              </a:ext>
            </a:extLst>
          </p:cNvPr>
          <p:cNvSpPr txBox="1"/>
          <p:nvPr/>
        </p:nvSpPr>
        <p:spPr>
          <a:xfrm rot="17029968">
            <a:off x="1162739" y="1731157"/>
            <a:ext cx="1378233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700"/>
              <a:t>Engineered features for training</a:t>
            </a: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151E4856-0D8A-1411-9F76-F8E5AB244BA0}"/>
              </a:ext>
            </a:extLst>
          </p:cNvPr>
          <p:cNvSpPr txBox="1"/>
          <p:nvPr/>
        </p:nvSpPr>
        <p:spPr>
          <a:xfrm rot="5400000">
            <a:off x="2576480" y="1972134"/>
            <a:ext cx="1299843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700"/>
              <a:t>Features  into model scores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10ADBAF9-5C0E-A203-FA36-C36ECB233AAA}"/>
              </a:ext>
            </a:extLst>
          </p:cNvPr>
          <p:cNvSpPr txBox="1"/>
          <p:nvPr/>
        </p:nvSpPr>
        <p:spPr>
          <a:xfrm>
            <a:off x="4521763" y="3359137"/>
            <a:ext cx="11025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/>
              <a:t>Generates predictions as actions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88B47F47-DCF4-2708-662E-5E1411EDA7BC}"/>
              </a:ext>
            </a:extLst>
          </p:cNvPr>
          <p:cNvSpPr txBox="1"/>
          <p:nvPr/>
        </p:nvSpPr>
        <p:spPr>
          <a:xfrm>
            <a:off x="5040494" y="1531859"/>
            <a:ext cx="9859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/>
              <a:t>Presents an interactive dashboard</a:t>
            </a:r>
          </a:p>
        </p:txBody>
      </p:sp>
      <p:sp>
        <p:nvSpPr>
          <p:cNvPr id="157" name="Flowchart: Process 156">
            <a:extLst>
              <a:ext uri="{FF2B5EF4-FFF2-40B4-BE49-F238E27FC236}">
                <a16:creationId xmlns:a16="http://schemas.microsoft.com/office/drawing/2014/main" id="{1724F9A6-5F94-AC36-D6E2-010908DA4C5E}"/>
              </a:ext>
            </a:extLst>
          </p:cNvPr>
          <p:cNvSpPr/>
          <p:nvPr/>
        </p:nvSpPr>
        <p:spPr>
          <a:xfrm>
            <a:off x="6061721" y="3641237"/>
            <a:ext cx="1219660" cy="261506"/>
          </a:xfrm>
          <a:prstGeom prst="flowChartProcess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/>
              <a:t>Decile wise distribution</a:t>
            </a:r>
          </a:p>
        </p:txBody>
      </p:sp>
      <p:sp>
        <p:nvSpPr>
          <p:cNvPr id="160" name="Flowchart: Process 159">
            <a:extLst>
              <a:ext uri="{FF2B5EF4-FFF2-40B4-BE49-F238E27FC236}">
                <a16:creationId xmlns:a16="http://schemas.microsoft.com/office/drawing/2014/main" id="{50CF7805-48A1-35CD-10EA-5F38B8B2FC03}"/>
              </a:ext>
            </a:extLst>
          </p:cNvPr>
          <p:cNvSpPr/>
          <p:nvPr/>
        </p:nvSpPr>
        <p:spPr>
          <a:xfrm>
            <a:off x="7335428" y="3638227"/>
            <a:ext cx="1154558" cy="264515"/>
          </a:xfrm>
          <a:prstGeom prst="flowChartProcess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/>
              <a:t>Product Group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902D7A1-8751-7497-0E5E-4302F3F7BCFC}"/>
              </a:ext>
            </a:extLst>
          </p:cNvPr>
          <p:cNvSpPr txBox="1"/>
          <p:nvPr/>
        </p:nvSpPr>
        <p:spPr>
          <a:xfrm>
            <a:off x="3442795" y="3362966"/>
            <a:ext cx="8530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/>
              <a:t>Pipeline  extension using</a:t>
            </a:r>
          </a:p>
        </p:txBody>
      </p:sp>
      <p:sp>
        <p:nvSpPr>
          <p:cNvPr id="12" name="Flowchart: Process 11">
            <a:extLst>
              <a:ext uri="{FF2B5EF4-FFF2-40B4-BE49-F238E27FC236}">
                <a16:creationId xmlns:a16="http://schemas.microsoft.com/office/drawing/2014/main" id="{DE68312F-DDEE-8123-8323-D012744B52F9}"/>
              </a:ext>
            </a:extLst>
          </p:cNvPr>
          <p:cNvSpPr/>
          <p:nvPr/>
        </p:nvSpPr>
        <p:spPr>
          <a:xfrm>
            <a:off x="341469" y="2733019"/>
            <a:ext cx="3088979" cy="1478103"/>
          </a:xfrm>
          <a:prstGeom prst="flowChartProcess">
            <a:avLst/>
          </a:prstGeom>
          <a:noFill/>
          <a:ln w="12700">
            <a:solidFill>
              <a:schemeClr val="accent4">
                <a:lumMod val="50000"/>
              </a:schemeClr>
            </a:solidFill>
            <a:prstDash val="lg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8" name="Flowchart: Process 37">
            <a:extLst>
              <a:ext uri="{FF2B5EF4-FFF2-40B4-BE49-F238E27FC236}">
                <a16:creationId xmlns:a16="http://schemas.microsoft.com/office/drawing/2014/main" id="{C1B495CB-EB4D-88B6-0EAB-42D3252CBC8E}"/>
              </a:ext>
            </a:extLst>
          </p:cNvPr>
          <p:cNvSpPr/>
          <p:nvPr/>
        </p:nvSpPr>
        <p:spPr>
          <a:xfrm>
            <a:off x="2077608" y="3532877"/>
            <a:ext cx="1049865" cy="252187"/>
          </a:xfrm>
          <a:prstGeom prst="flowChartProcess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/>
              <a:t>Champion Production Model</a:t>
            </a:r>
          </a:p>
        </p:txBody>
      </p:sp>
      <p:sp>
        <p:nvSpPr>
          <p:cNvPr id="39" name="Flowchart: Process 38">
            <a:extLst>
              <a:ext uri="{FF2B5EF4-FFF2-40B4-BE49-F238E27FC236}">
                <a16:creationId xmlns:a16="http://schemas.microsoft.com/office/drawing/2014/main" id="{C5BC783C-16D1-B5E8-54BA-DF6DFE456841}"/>
              </a:ext>
            </a:extLst>
          </p:cNvPr>
          <p:cNvSpPr/>
          <p:nvPr/>
        </p:nvSpPr>
        <p:spPr>
          <a:xfrm>
            <a:off x="2077608" y="3811370"/>
            <a:ext cx="1049865" cy="252187"/>
          </a:xfrm>
          <a:prstGeom prst="flowChartProcess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i="1"/>
              <a:t>User Scheduled Mode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B505974-4EC3-FE88-561B-CE12A52E9414}"/>
              </a:ext>
            </a:extLst>
          </p:cNvPr>
          <p:cNvSpPr txBox="1"/>
          <p:nvPr/>
        </p:nvSpPr>
        <p:spPr>
          <a:xfrm>
            <a:off x="2763745" y="2696146"/>
            <a:ext cx="76678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b="1"/>
              <a:t>Admin User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9AB66EA-6E66-671E-3704-A3E030E81F51}"/>
              </a:ext>
            </a:extLst>
          </p:cNvPr>
          <p:cNvSpPr txBox="1"/>
          <p:nvPr/>
        </p:nvSpPr>
        <p:spPr>
          <a:xfrm>
            <a:off x="274723" y="2702289"/>
            <a:ext cx="76678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b="1"/>
              <a:t>Pipeline</a:t>
            </a:r>
          </a:p>
        </p:txBody>
      </p:sp>
    </p:spTree>
    <p:extLst>
      <p:ext uri="{BB962C8B-B14F-4D97-AF65-F5344CB8AC3E}">
        <p14:creationId xmlns:p14="http://schemas.microsoft.com/office/powerpoint/2010/main" val="28720021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DBC0258-F895-4E41-AE96-C8BD962A9D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0B62E8-4833-C84D-A86B-4CF3C4DE74F8}" type="slidenum">
              <a:rPr kumimoji="0" lang="uk-UA" sz="750" b="0" i="0" u="none" strike="noStrike" kern="1200" cap="none" spc="0" normalizeH="0" baseline="0" noProof="0" smtClean="0">
                <a:ln>
                  <a:noFill/>
                </a:ln>
                <a:solidFill>
                  <a:srgbClr val="003946"/>
                </a:solidFill>
                <a:effectLst/>
                <a:uLnTx/>
                <a:uFillTx/>
                <a:ea typeface="+mn-ea"/>
                <a:cs typeface="Calibri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uk-UA" sz="750" b="0" i="0" u="none" strike="noStrike" kern="1200" cap="none" spc="0" normalizeH="0" baseline="0" noProof="0">
              <a:ln>
                <a:noFill/>
              </a:ln>
              <a:solidFill>
                <a:srgbClr val="003946"/>
              </a:solidFill>
              <a:effectLst/>
              <a:uLnTx/>
              <a:uFillTx/>
              <a:ea typeface="+mn-ea"/>
              <a:cs typeface="Calibri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EED6AB6-42E1-4286-B3E1-A19472D324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668" y="-6350"/>
            <a:ext cx="6885797" cy="581025"/>
          </a:xfrm>
        </p:spPr>
        <p:txBody>
          <a:bodyPr/>
          <a:lstStyle/>
          <a:p>
            <a:r>
              <a:rPr lang="en-US" altLang="en-US"/>
              <a:t>Sequence Diagram</a:t>
            </a:r>
            <a:br>
              <a:rPr lang="en-US" altLang="en-US"/>
            </a:b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D4B0062-0E5A-4745-B217-908F0306953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en-US"/>
              <a:t>C4 Model Diagram – Level 3 Component</a:t>
            </a: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49AE5C5-72D4-4057-98BE-DB83DB28D0DE}"/>
              </a:ext>
            </a:extLst>
          </p:cNvPr>
          <p:cNvSpPr/>
          <p:nvPr/>
        </p:nvSpPr>
        <p:spPr>
          <a:xfrm>
            <a:off x="453935" y="4548986"/>
            <a:ext cx="369570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lor code diagram which parts are new changes vs. existing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9A240D4-E7A7-4BE5-BF9D-DCF050CB6D80}"/>
              </a:ext>
            </a:extLst>
          </p:cNvPr>
          <p:cNvGrpSpPr/>
          <p:nvPr/>
        </p:nvGrpSpPr>
        <p:grpSpPr>
          <a:xfrm>
            <a:off x="3797858" y="4562475"/>
            <a:ext cx="2075514" cy="234416"/>
            <a:chOff x="3797858" y="4562475"/>
            <a:chExt cx="2075514" cy="23441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F98886E-224C-428D-9ED5-9E8316026BF6}"/>
                </a:ext>
              </a:extLst>
            </p:cNvPr>
            <p:cNvSpPr/>
            <p:nvPr/>
          </p:nvSpPr>
          <p:spPr>
            <a:xfrm>
              <a:off x="3797858" y="4562475"/>
              <a:ext cx="502550" cy="233792"/>
            </a:xfrm>
            <a:prstGeom prst="rect">
              <a:avLst/>
            </a:prstGeom>
            <a:solidFill>
              <a:srgbClr val="FFCB05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o Change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1BCC3E2-4C2C-4FAA-BDFF-50D5E0F86906}"/>
                </a:ext>
              </a:extLst>
            </p:cNvPr>
            <p:cNvSpPr/>
            <p:nvPr/>
          </p:nvSpPr>
          <p:spPr>
            <a:xfrm>
              <a:off x="4320669" y="4562475"/>
              <a:ext cx="502550" cy="233792"/>
            </a:xfrm>
            <a:prstGeom prst="rect">
              <a:avLst/>
            </a:prstGeom>
            <a:solidFill>
              <a:srgbClr val="5B9BD5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ew 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3BBBF30C-8E89-4F82-9E74-4A063537CE4C}"/>
                </a:ext>
              </a:extLst>
            </p:cNvPr>
            <p:cNvSpPr/>
            <p:nvPr/>
          </p:nvSpPr>
          <p:spPr>
            <a:xfrm>
              <a:off x="4843480" y="4562475"/>
              <a:ext cx="502550" cy="233792"/>
            </a:xfrm>
            <a:prstGeom prst="rect">
              <a:avLst/>
            </a:prstGeom>
            <a:solidFill>
              <a:srgbClr val="70AD47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hange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9C34566-FF7B-411F-8E5C-64C49CFF60FE}"/>
                </a:ext>
              </a:extLst>
            </p:cNvPr>
            <p:cNvSpPr/>
            <p:nvPr/>
          </p:nvSpPr>
          <p:spPr>
            <a:xfrm>
              <a:off x="5370822" y="4563099"/>
              <a:ext cx="502550" cy="233792"/>
            </a:xfrm>
            <a:prstGeom prst="rect">
              <a:avLst/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ot In Scope</a:t>
              </a:r>
            </a:p>
          </p:txBody>
        </p:sp>
      </p:grp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0D105619-FA33-6BB7-5B45-176651E77BFE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2745432" y="580166"/>
            <a:ext cx="2296268" cy="3917950"/>
          </a:xfrm>
        </p:spPr>
      </p:pic>
    </p:spTree>
    <p:extLst>
      <p:ext uri="{BB962C8B-B14F-4D97-AF65-F5344CB8AC3E}">
        <p14:creationId xmlns:p14="http://schemas.microsoft.com/office/powerpoint/2010/main" val="5996559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08860" y="114477"/>
            <a:ext cx="7422491" cy="357199"/>
          </a:xfrm>
          <a:noFill/>
          <a:ln>
            <a:noFill/>
          </a:ln>
        </p:spPr>
        <p:txBody>
          <a:bodyPr spcFirstLastPara="1" vert="horz" wrap="square" lIns="68580" tIns="34290" rIns="68580" bIns="34290" rtlCol="0" anchor="ctr" anchorCtr="0">
            <a:normAutofit fontScale="90000"/>
          </a:bodyPr>
          <a:lstStyle/>
          <a:p>
            <a:pPr>
              <a:buClr>
                <a:srgbClr val="404040"/>
              </a:buClr>
              <a:buSzPts val="1800"/>
            </a:pPr>
            <a:r>
              <a:rPr lang="en-US" sz="2500">
                <a:solidFill>
                  <a:srgbClr val="003946"/>
                </a:solidFill>
                <a:latin typeface="Sun Life Sans Regular" panose="02000503000000020004" pitchFamily="2" charset="77"/>
                <a:cs typeface="Calibri"/>
              </a:rPr>
              <a:t>Technology Stack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9988050"/>
              </p:ext>
            </p:extLst>
          </p:nvPr>
        </p:nvGraphicFramePr>
        <p:xfrm>
          <a:off x="332529" y="530137"/>
          <a:ext cx="8613956" cy="3834947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208891">
                  <a:extLst>
                    <a:ext uri="{9D8B030D-6E8A-4147-A177-3AD203B41FA5}">
                      <a16:colId xmlns:a16="http://schemas.microsoft.com/office/drawing/2014/main" val="3289557277"/>
                    </a:ext>
                  </a:extLst>
                </a:gridCol>
                <a:gridCol w="2630652">
                  <a:extLst>
                    <a:ext uri="{9D8B030D-6E8A-4147-A177-3AD203B41FA5}">
                      <a16:colId xmlns:a16="http://schemas.microsoft.com/office/drawing/2014/main" val="2568595202"/>
                    </a:ext>
                  </a:extLst>
                </a:gridCol>
                <a:gridCol w="1315326">
                  <a:extLst>
                    <a:ext uri="{9D8B030D-6E8A-4147-A177-3AD203B41FA5}">
                      <a16:colId xmlns:a16="http://schemas.microsoft.com/office/drawing/2014/main" val="1858372207"/>
                    </a:ext>
                  </a:extLst>
                </a:gridCol>
                <a:gridCol w="2459087">
                  <a:extLst>
                    <a:ext uri="{9D8B030D-6E8A-4147-A177-3AD203B41FA5}">
                      <a16:colId xmlns:a16="http://schemas.microsoft.com/office/drawing/2014/main" val="3743823260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r>
                        <a:rPr lang="en-US" sz="1100"/>
                        <a:t>Component</a:t>
                      </a:r>
                      <a:endParaRPr lang="en-US" sz="11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100"/>
                        <a:t>Solution/ Vendor</a:t>
                      </a:r>
                      <a:endParaRPr lang="en-US" sz="11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100" kern="1200"/>
                        <a:t>SLF Approved Version</a:t>
                      </a:r>
                      <a:endParaRPr lang="en-US" sz="1100" b="1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100"/>
                        <a:t>Remarks</a:t>
                      </a:r>
                      <a:endParaRPr lang="en-US" sz="11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260894241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r>
                        <a:rPr lang="en-IN" sz="900" b="1">
                          <a:effectLst/>
                          <a:latin typeface="+mn-lt"/>
                          <a:ea typeface="Calibri" panose="020F0502020204030204" pitchFamily="34" charset="0"/>
                        </a:rPr>
                        <a:t>Version Control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IN" sz="900">
                          <a:effectLst/>
                          <a:latin typeface="+mn-lt"/>
                          <a:ea typeface="Calibri" panose="020F0502020204030204" pitchFamily="34" charset="0"/>
                        </a:rPr>
                        <a:t>Bitbucket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en-US" sz="900" kern="120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900" kern="120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992448450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r>
                        <a:rPr lang="en-IN" sz="900" b="1">
                          <a:effectLst/>
                          <a:latin typeface="+mn-lt"/>
                        </a:rPr>
                        <a:t>Front End</a:t>
                      </a:r>
                      <a:endParaRPr lang="en-IN" sz="900" b="1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IN" sz="900">
                          <a:effectLst/>
                          <a:latin typeface="+mn-lt"/>
                        </a:rPr>
                        <a:t>ReactJs</a:t>
                      </a:r>
                      <a:endParaRPr lang="en-IN" sz="90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900" kern="120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kern="120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461313126"/>
                  </a:ext>
                </a:extLst>
              </a:tr>
              <a:tr h="245927">
                <a:tc>
                  <a:txBody>
                    <a:bodyPr/>
                    <a:lstStyle/>
                    <a:p>
                      <a:r>
                        <a:rPr lang="en-IN" sz="900" b="1">
                          <a:effectLst/>
                          <a:latin typeface="+mn-lt"/>
                        </a:rPr>
                        <a:t>Back End</a:t>
                      </a:r>
                      <a:endParaRPr lang="en-IN" sz="900" b="1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IN" sz="900">
                          <a:effectLst/>
                          <a:latin typeface="+mn-lt"/>
                        </a:rPr>
                        <a:t>Node.js</a:t>
                      </a:r>
                      <a:endParaRPr lang="en-IN" sz="90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kern="120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kern="120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958234838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r>
                        <a:rPr lang="en-IN" sz="900" b="1">
                          <a:effectLst/>
                          <a:latin typeface="+mn-lt"/>
                        </a:rPr>
                        <a:t>AWS Networking Services</a:t>
                      </a:r>
                      <a:endParaRPr lang="en-IN" sz="900" b="1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IN" sz="900">
                          <a:effectLst/>
                          <a:latin typeface="+mn-lt"/>
                        </a:rPr>
                        <a:t>Direct Connect, Customer Gateway, Transit Gateway,</a:t>
                      </a:r>
                      <a:br>
                        <a:rPr lang="en-IN" sz="900">
                          <a:effectLst/>
                          <a:latin typeface="+mn-lt"/>
                        </a:rPr>
                      </a:br>
                      <a:r>
                        <a:rPr lang="en-IN" sz="900">
                          <a:effectLst/>
                          <a:latin typeface="+mn-lt"/>
                        </a:rPr>
                        <a:t>VPC, Subnets, Security Groups</a:t>
                      </a:r>
                      <a:br>
                        <a:rPr lang="en-IN" sz="900">
                          <a:effectLst/>
                          <a:latin typeface="+mn-lt"/>
                        </a:rPr>
                      </a:br>
                      <a:r>
                        <a:rPr lang="en-IN" sz="900" i="1">
                          <a:effectLst/>
                          <a:latin typeface="+mn-lt"/>
                        </a:rPr>
                        <a:t>VPN and DNS will be created/provided by Sun Life</a:t>
                      </a:r>
                    </a:p>
                    <a:p>
                      <a:r>
                        <a:rPr lang="en-IN" sz="900" i="1">
                          <a:effectLst/>
                          <a:latin typeface="+mn-lt"/>
                        </a:rPr>
                        <a:t>For Scalability in future: ALB / NLB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900" kern="120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kern="120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728983826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r>
                        <a:rPr lang="en-IN" sz="900" b="1">
                          <a:effectLst/>
                          <a:latin typeface="+mn-lt"/>
                        </a:rPr>
                        <a:t>AWS Processing Services</a:t>
                      </a:r>
                      <a:endParaRPr lang="en-IN" sz="900" b="1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IN" sz="900">
                          <a:effectLst/>
                          <a:latin typeface="+mn-lt"/>
                        </a:rPr>
                        <a:t>EC2, EMR, Lambda</a:t>
                      </a:r>
                      <a:endParaRPr lang="en-IN" sz="90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900" kern="120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900" kern="120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661569593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r>
                        <a:rPr lang="en-IN" sz="900" b="1">
                          <a:effectLst/>
                          <a:latin typeface="+mn-lt"/>
                        </a:rPr>
                        <a:t>AWS Storage Services</a:t>
                      </a:r>
                      <a:endParaRPr lang="en-IN" sz="900" b="1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IN" sz="900">
                          <a:effectLst/>
                          <a:latin typeface="+mn-lt"/>
                        </a:rPr>
                        <a:t>RDS, S3</a:t>
                      </a:r>
                      <a:endParaRPr lang="en-IN" sz="90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900" kern="120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900" kern="120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181843716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r>
                        <a:rPr lang="en-IN" sz="900" b="1">
                          <a:effectLst/>
                          <a:latin typeface="+mn-lt"/>
                        </a:rPr>
                        <a:t>Authentication Mechanism</a:t>
                      </a:r>
                      <a:endParaRPr lang="en-IN" sz="900" b="1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IN" sz="900">
                          <a:effectLst/>
                          <a:latin typeface="+mn-lt"/>
                        </a:rPr>
                        <a:t>1 set of credentials per user type maintained in AWS – accessible to Admin user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900" kern="120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900" kern="120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617424441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r>
                        <a:rPr lang="en-IN" sz="900" b="1">
                          <a:effectLst/>
                          <a:latin typeface="+mn-lt"/>
                        </a:rPr>
                        <a:t>Security</a:t>
                      </a:r>
                      <a:endParaRPr lang="en-IN" sz="900" b="1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IN" sz="900">
                          <a:effectLst/>
                          <a:latin typeface="+mn-lt"/>
                        </a:rPr>
                        <a:t>ACM (certificate manager), KMS, IAM, Identity provider (SAML)</a:t>
                      </a:r>
                      <a:br>
                        <a:rPr lang="en-IN" sz="900">
                          <a:effectLst/>
                          <a:latin typeface="+mn-lt"/>
                        </a:rPr>
                      </a:br>
                      <a:r>
                        <a:rPr lang="en-IN" sz="900">
                          <a:effectLst/>
                          <a:latin typeface="+mn-lt"/>
                        </a:rPr>
                        <a:t>SSM parameter store – secret manager</a:t>
                      </a:r>
                      <a:endParaRPr lang="en-IN" sz="90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900" kern="120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900" kern="120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720723553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r>
                        <a:rPr lang="en-IN" sz="900" b="1">
                          <a:effectLst/>
                          <a:latin typeface="+mn-lt"/>
                          <a:ea typeface="Calibri" panose="020F0502020204030204" pitchFamily="34" charset="0"/>
                        </a:rPr>
                        <a:t>Supporting Services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IN" sz="900">
                          <a:effectLst/>
                          <a:latin typeface="+mn-lt"/>
                          <a:ea typeface="Calibri" panose="020F0502020204030204" pitchFamily="34" charset="0"/>
                        </a:rPr>
                        <a:t>Cloud Watch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900" kern="120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900" kern="120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832638963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r>
                        <a:rPr lang="en-IN" sz="900" b="1">
                          <a:effectLst/>
                          <a:latin typeface="+mn-lt"/>
                          <a:ea typeface="Calibri" panose="020F0502020204030204" pitchFamily="34" charset="0"/>
                        </a:rPr>
                        <a:t>CICD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>
                          <a:effectLst/>
                          <a:latin typeface="+mn-lt"/>
                          <a:ea typeface="Calibri" panose="020F0502020204030204" pitchFamily="34" charset="0"/>
                        </a:rPr>
                        <a:t>AWS Code Pipeline – </a:t>
                      </a:r>
                      <a:r>
                        <a:rPr lang="en-IN" sz="900" i="1">
                          <a:effectLst/>
                          <a:latin typeface="+mn-lt"/>
                          <a:ea typeface="Calibri" panose="020F0502020204030204" pitchFamily="34" charset="0"/>
                        </a:rPr>
                        <a:t>to be discussed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kern="120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900" kern="120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018928143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900" kern="120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900" kern="120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900" kern="120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kern="120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4672879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256162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un Life Master">
  <a:themeElements>
    <a:clrScheme name="Custom 70">
      <a:dk1>
        <a:sysClr val="windowText" lastClr="000000"/>
      </a:dk1>
      <a:lt1>
        <a:sysClr val="window" lastClr="FFFFFF"/>
      </a:lt1>
      <a:dk2>
        <a:srgbClr val="003946"/>
      </a:dk2>
      <a:lt2>
        <a:srgbClr val="EEECE1"/>
      </a:lt2>
      <a:accent1>
        <a:srgbClr val="FFCB05"/>
      </a:accent1>
      <a:accent2>
        <a:srgbClr val="DF7227"/>
      </a:accent2>
      <a:accent3>
        <a:srgbClr val="00A8E5"/>
      </a:accent3>
      <a:accent4>
        <a:srgbClr val="9A9A9A"/>
      </a:accent4>
      <a:accent5>
        <a:srgbClr val="58B947"/>
      </a:accent5>
      <a:accent6>
        <a:srgbClr val="0B713A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CB05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ETAB Project Presentation Template.potx" id="{4E0B63EF-900A-44B2-9264-2577880E205C}" vid="{E1D03EEA-4046-44F1-A52B-01A4D01B395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0bc8a17b-dcfb-4d52-9d98-90e3ca4dbcfa">
      <UserInfo>
        <DisplayName>Reanne Ley C Muhi</DisplayName>
        <AccountId>1257</AccountId>
        <AccountType/>
      </UserInfo>
      <UserInfo>
        <DisplayName>Gloria Axibal</DisplayName>
        <AccountId>3881</AccountId>
        <AccountType/>
      </UserInfo>
      <UserInfo>
        <DisplayName>Sheila Raisa H Palomares</DisplayName>
        <AccountId>2451</AccountId>
        <AccountType/>
      </UserInfo>
      <UserInfo>
        <DisplayName>Van Jasper Tan</DisplayName>
        <AccountId>1256</AccountId>
        <AccountType/>
      </UserInfo>
      <UserInfo>
        <DisplayName>Jennymar Rigor</DisplayName>
        <AccountId>2760</AccountId>
        <AccountType/>
      </UserInfo>
      <UserInfo>
        <DisplayName>Jerome Albudin</DisplayName>
        <AccountId>3898</AccountId>
        <AccountType/>
      </UserInfo>
      <UserInfo>
        <DisplayName>Danlourd De Asis</DisplayName>
        <AccountId>3909</AccountId>
        <AccountType/>
      </UserInfo>
      <UserInfo>
        <DisplayName>Jeffrey Vincent R Caponpon</DisplayName>
        <AccountId>3910</AccountId>
        <AccountType/>
      </UserInfo>
      <UserInfo>
        <DisplayName>Apollo Francis Cruz</DisplayName>
        <AccountId>3911</AccountId>
        <AccountType/>
      </UserInfo>
    </SharedWithUsers>
    <lcf76f155ced4ddcb4097134ff3c332f xmlns="c30d5c34-a86c-4766-8852-97cbf9c5125f">
      <Terms xmlns="http://schemas.microsoft.com/office/infopath/2007/PartnerControls"/>
    </lcf76f155ced4ddcb4097134ff3c332f>
    <TaxCatchAll xmlns="0d3ea1d3-c067-426b-a03d-d236463fa306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AB5A751B8181242B40F67FD41D20BC2" ma:contentTypeVersion="15" ma:contentTypeDescription="Create a new document." ma:contentTypeScope="" ma:versionID="72c9df9fcd9c4d53b0307da733e7d3b1">
  <xsd:schema xmlns:xsd="http://www.w3.org/2001/XMLSchema" xmlns:xs="http://www.w3.org/2001/XMLSchema" xmlns:p="http://schemas.microsoft.com/office/2006/metadata/properties" xmlns:ns2="c30d5c34-a86c-4766-8852-97cbf9c5125f" xmlns:ns3="0bc8a17b-dcfb-4d52-9d98-90e3ca4dbcfa" xmlns:ns4="0d3ea1d3-c067-426b-a03d-d236463fa306" targetNamespace="http://schemas.microsoft.com/office/2006/metadata/properties" ma:root="true" ma:fieldsID="e51bf2e67ec8e87229b228f50fc8babc" ns2:_="" ns3:_="" ns4:_="">
    <xsd:import namespace="c30d5c34-a86c-4766-8852-97cbf9c5125f"/>
    <xsd:import namespace="0bc8a17b-dcfb-4d52-9d98-90e3ca4dbcfa"/>
    <xsd:import namespace="0d3ea1d3-c067-426b-a03d-d236463fa30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4:TaxCatchAll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30d5c34-a86c-4766-8852-97cbf9c5125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9af281f3-005c-4590-8509-9f2f2da8adb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2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c8a17b-dcfb-4d52-9d98-90e3ca4dbcf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3ea1d3-c067-426b-a03d-d236463fa306" elementFormDefault="qualified">
    <xsd:import namespace="http://schemas.microsoft.com/office/2006/documentManagement/types"/>
    <xsd:import namespace="http://schemas.microsoft.com/office/infopath/2007/PartnerControls"/>
    <xsd:element name="TaxCatchAll" ma:index="20" nillable="true" ma:displayName="Taxonomy Catch All Column" ma:hidden="true" ma:list="{927497ea-d3f7-4b04-91c1-0decf0f9e02f}" ma:internalName="TaxCatchAll" ma:showField="CatchAllData" ma:web="0d3ea1d3-c067-426b-a03d-d236463fa30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C31897B-DB51-4C48-816F-6C6765B2CD3C}">
  <ds:schemaRefs>
    <ds:schemaRef ds:uri="0bc8a17b-dcfb-4d52-9d98-90e3ca4dbcfa"/>
    <ds:schemaRef ds:uri="0d3ea1d3-c067-426b-a03d-d236463fa306"/>
    <ds:schemaRef ds:uri="c30d5c34-a86c-4766-8852-97cbf9c5125f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B0E27EC-515D-4C61-A0A5-96E59C6BCDA8}">
  <ds:schemaRefs>
    <ds:schemaRef ds:uri="0bc8a17b-dcfb-4d52-9d98-90e3ca4dbcfa"/>
    <ds:schemaRef ds:uri="0d3ea1d3-c067-426b-a03d-d236463fa306"/>
    <ds:schemaRef ds:uri="c30d5c34-a86c-4766-8852-97cbf9c5125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5294911C-E1EE-471A-B464-8EF3F07AB45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</TotalTime>
  <Words>1256</Words>
  <Application>Microsoft Office PowerPoint</Application>
  <PresentationFormat>On-screen Show (16:9)</PresentationFormat>
  <Paragraphs>400</Paragraphs>
  <Slides>13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6" baseType="lpstr">
      <vt:lpstr>Arial</vt:lpstr>
      <vt:lpstr>Calibri</vt:lpstr>
      <vt:lpstr>Calibri Light</vt:lpstr>
      <vt:lpstr>Poppins</vt:lpstr>
      <vt:lpstr>Sun Life Sans</vt:lpstr>
      <vt:lpstr>Sun Life Sans Bold</vt:lpstr>
      <vt:lpstr>Sun Life Sans Light</vt:lpstr>
      <vt:lpstr>Sun Life Sans Medium</vt:lpstr>
      <vt:lpstr>Sun Life Sans Regular</vt:lpstr>
      <vt:lpstr>Sun Life Master</vt:lpstr>
      <vt:lpstr>Office Theme</vt:lpstr>
      <vt:lpstr>1_Office Theme</vt:lpstr>
      <vt:lpstr>think-cell Slide</vt:lpstr>
      <vt:lpstr>Sun Life Next Best Offer – NBO</vt:lpstr>
      <vt:lpstr>Sun Life Next Best Offer – NBO</vt:lpstr>
      <vt:lpstr>PowerPoint Presentation</vt:lpstr>
      <vt:lpstr>PowerPoint Presentation</vt:lpstr>
      <vt:lpstr>System Diagram (Context)</vt:lpstr>
      <vt:lpstr>System Diagram (Container)</vt:lpstr>
      <vt:lpstr>System Diagram (Component)</vt:lpstr>
      <vt:lpstr>Sequence Diagram </vt:lpstr>
      <vt:lpstr>Technology Stack</vt:lpstr>
      <vt:lpstr>PowerPoint Presentation</vt:lpstr>
      <vt:lpstr>Appendix</vt:lpstr>
      <vt:lpstr>Supplemental Slide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Gerry Go</dc:creator>
  <cp:keywords/>
  <dc:description/>
  <cp:lastModifiedBy>Anjali Jaisinghani</cp:lastModifiedBy>
  <cp:revision>5</cp:revision>
  <dcterms:created xsi:type="dcterms:W3CDTF">2021-08-05T08:00:36Z</dcterms:created>
  <dcterms:modified xsi:type="dcterms:W3CDTF">2023-03-22T07:29:44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AB5A751B8181242B40F67FD41D20BC2</vt:lpwstr>
  </property>
  <property fmtid="{D5CDD505-2E9C-101B-9397-08002B2CF9AE}" pid="3" name="_dlc_DocIdItemGuid">
    <vt:lpwstr>50a200cb-13fc-46a6-b5e5-9b749ff60411</vt:lpwstr>
  </property>
  <property fmtid="{D5CDD505-2E9C-101B-9397-08002B2CF9AE}" pid="4" name="MediaServiceImageTags">
    <vt:lpwstr/>
  </property>
</Properties>
</file>